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0" r:id="rId5"/>
  </p:sldMasterIdLst>
  <p:notesMasterIdLst>
    <p:notesMasterId r:id="rId40"/>
  </p:notesMasterIdLst>
  <p:sldIdLst>
    <p:sldId id="335" r:id="rId6"/>
    <p:sldId id="2147376943" r:id="rId7"/>
    <p:sldId id="2147376945" r:id="rId8"/>
    <p:sldId id="2147376944" r:id="rId9"/>
    <p:sldId id="269" r:id="rId10"/>
    <p:sldId id="272" r:id="rId11"/>
    <p:sldId id="459" r:id="rId12"/>
    <p:sldId id="2147376894" r:id="rId13"/>
    <p:sldId id="270" r:id="rId14"/>
    <p:sldId id="271" r:id="rId15"/>
    <p:sldId id="273" r:id="rId16"/>
    <p:sldId id="289" r:id="rId17"/>
    <p:sldId id="276" r:id="rId18"/>
    <p:sldId id="274" r:id="rId19"/>
    <p:sldId id="2147376898" r:id="rId20"/>
    <p:sldId id="2147376890" r:id="rId21"/>
    <p:sldId id="257" r:id="rId22"/>
    <p:sldId id="2147376939" r:id="rId23"/>
    <p:sldId id="2147376883" r:id="rId24"/>
    <p:sldId id="2147376913" r:id="rId25"/>
    <p:sldId id="2147376914" r:id="rId26"/>
    <p:sldId id="284" r:id="rId27"/>
    <p:sldId id="267" r:id="rId28"/>
    <p:sldId id="285" r:id="rId29"/>
    <p:sldId id="286" r:id="rId30"/>
    <p:sldId id="2147376928" r:id="rId31"/>
    <p:sldId id="2147376929" r:id="rId32"/>
    <p:sldId id="2147376930" r:id="rId33"/>
    <p:sldId id="2147376931" r:id="rId34"/>
    <p:sldId id="2147376932" r:id="rId35"/>
    <p:sldId id="2147376940" r:id="rId36"/>
    <p:sldId id="2147376941" r:id="rId37"/>
    <p:sldId id="259" r:id="rId38"/>
    <p:sldId id="261" r:id="rId39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A19966-9778-4DC7-9EEB-64B0403DF72C}" v="2" dt="2026-01-08T10:52:38.7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65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undo custSel addSld delSld modSld addSection delSection">
      <pc:chgData name="Eva Parisi Tria" userId="79b09202-394d-4e2d-bcbc-186dc936d36f" providerId="ADAL" clId="{1EF2A93B-595E-4E39-AAA2-55AE1E6911AA}" dt="2026-01-08T10:52:38.733" v="6"/>
      <pc:docMkLst>
        <pc:docMk/>
      </pc:docMkLst>
      <pc:sldChg chg="add del">
        <pc:chgData name="Eva Parisi Tria" userId="79b09202-394d-4e2d-bcbc-186dc936d36f" providerId="ADAL" clId="{1EF2A93B-595E-4E39-AAA2-55AE1E6911AA}" dt="2026-01-08T10:52:38.733" v="6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52:38.733" v="6"/>
        <pc:sldMkLst>
          <pc:docMk/>
          <pc:sldMk cId="2980358209" sldId="261"/>
        </pc:sldMkLst>
      </pc:sldChg>
      <pc:sldChg chg="new del">
        <pc:chgData name="Eva Parisi Tria" userId="79b09202-394d-4e2d-bcbc-186dc936d36f" providerId="ADAL" clId="{1EF2A93B-595E-4E39-AAA2-55AE1E6911AA}" dt="2026-01-08T10:52:16.297" v="2" actId="680"/>
        <pc:sldMkLst>
          <pc:docMk/>
          <pc:sldMk cId="3662977888" sldId="2147376946"/>
        </pc:sldMkLst>
      </pc:sldChg>
      <pc:sldMasterChg chg="delSldLayout">
        <pc:chgData name="Eva Parisi Tria" userId="79b09202-394d-4e2d-bcbc-186dc936d36f" providerId="ADAL" clId="{1EF2A93B-595E-4E39-AAA2-55AE1E6911AA}" dt="2026-01-08T10:52:35.191" v="5" actId="47"/>
        <pc:sldMasterMkLst>
          <pc:docMk/>
          <pc:sldMasterMk cId="3091545902" sldId="2147483660"/>
        </pc:sldMasterMkLst>
        <pc:sldLayoutChg chg="del">
          <pc:chgData name="Eva Parisi Tria" userId="79b09202-394d-4e2d-bcbc-186dc936d36f" providerId="ADAL" clId="{1EF2A93B-595E-4E39-AAA2-55AE1E6911AA}" dt="2026-01-08T10:52:35.191" v="5" actId="47"/>
          <pc:sldLayoutMkLst>
            <pc:docMk/>
            <pc:sldMasterMk cId="3091545902" sldId="2147483660"/>
            <pc:sldLayoutMk cId="3658638788" sldId="2147483700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863DE8-5B02-4F7B-87E2-42E567796015}" type="doc">
      <dgm:prSet loTypeId="urn:microsoft.com/office/officeart/2005/8/layout/vProcess5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FD836E42-C320-4AF2-B178-51E218B2B518}">
      <dgm:prSet phldrT="[Texto]"/>
      <dgm:spPr/>
      <dgm:t>
        <a:bodyPr/>
        <a:lstStyle/>
        <a:p>
          <a:r>
            <a:rPr lang="es-ES_tradnl" dirty="0"/>
            <a:t>1. Identificar correctamente los pacientes de RCV alto/muy alto</a:t>
          </a:r>
          <a:endParaRPr lang="es-ES" dirty="0"/>
        </a:p>
      </dgm:t>
    </dgm:pt>
    <dgm:pt modelId="{7EC8098F-F5FF-45C4-A6B6-D46FD108D1FC}" type="parTrans" cxnId="{A57B5D2A-B25F-4A9E-9C5C-86A0666F1614}">
      <dgm:prSet/>
      <dgm:spPr/>
      <dgm:t>
        <a:bodyPr/>
        <a:lstStyle/>
        <a:p>
          <a:endParaRPr lang="es-ES"/>
        </a:p>
      </dgm:t>
    </dgm:pt>
    <dgm:pt modelId="{8DE7C0C1-1101-42D5-93C5-2EC1607B9ECB}" type="sibTrans" cxnId="{A57B5D2A-B25F-4A9E-9C5C-86A0666F1614}">
      <dgm:prSet/>
      <dgm:spPr/>
      <dgm:t>
        <a:bodyPr/>
        <a:lstStyle/>
        <a:p>
          <a:endParaRPr lang="es-ES"/>
        </a:p>
      </dgm:t>
    </dgm:pt>
    <dgm:pt modelId="{1F281358-8762-466C-86AF-DFEF431E99AA}">
      <dgm:prSet phldrT="[Texto]"/>
      <dgm:spPr/>
      <dgm:t>
        <a:bodyPr/>
        <a:lstStyle/>
        <a:p>
          <a:r>
            <a:rPr lang="es-ES_tradnl" dirty="0"/>
            <a:t>3. Ayudar a mejorar la adherencia de los pacientes</a:t>
          </a:r>
          <a:endParaRPr lang="es-ES" dirty="0"/>
        </a:p>
      </dgm:t>
    </dgm:pt>
    <dgm:pt modelId="{33F92EBA-592B-4CC3-86E2-51D19396580F}" type="parTrans" cxnId="{C46EE392-068B-47CB-A5BD-A3D8E78BC089}">
      <dgm:prSet/>
      <dgm:spPr/>
      <dgm:t>
        <a:bodyPr/>
        <a:lstStyle/>
        <a:p>
          <a:endParaRPr lang="es-ES"/>
        </a:p>
      </dgm:t>
    </dgm:pt>
    <dgm:pt modelId="{0CA33946-9ED3-4FE8-8011-0894AB594DF4}" type="sibTrans" cxnId="{C46EE392-068B-47CB-A5BD-A3D8E78BC089}">
      <dgm:prSet/>
      <dgm:spPr/>
      <dgm:t>
        <a:bodyPr/>
        <a:lstStyle/>
        <a:p>
          <a:endParaRPr lang="es-ES"/>
        </a:p>
      </dgm:t>
    </dgm:pt>
    <dgm:pt modelId="{C3D234EF-6745-4547-A21E-B0F5E6C8F1D6}">
      <dgm:prSet/>
      <dgm:spPr/>
      <dgm:t>
        <a:bodyPr/>
        <a:lstStyle/>
        <a:p>
          <a:r>
            <a:rPr lang="es-ES_tradnl" dirty="0"/>
            <a:t>2. Evitar la inercia terapéutica</a:t>
          </a:r>
          <a:endParaRPr lang="es-ES" dirty="0"/>
        </a:p>
      </dgm:t>
    </dgm:pt>
    <dgm:pt modelId="{DDF65950-DA05-40AB-95A4-FEAA6970A00F}" type="parTrans" cxnId="{EDEADDC6-AA28-4077-8333-152370DC3647}">
      <dgm:prSet/>
      <dgm:spPr/>
      <dgm:t>
        <a:bodyPr/>
        <a:lstStyle/>
        <a:p>
          <a:endParaRPr lang="es-ES"/>
        </a:p>
      </dgm:t>
    </dgm:pt>
    <dgm:pt modelId="{91D183C8-ADD0-4EEA-AD9D-783916065B27}" type="sibTrans" cxnId="{EDEADDC6-AA28-4077-8333-152370DC3647}">
      <dgm:prSet/>
      <dgm:spPr/>
      <dgm:t>
        <a:bodyPr/>
        <a:lstStyle/>
        <a:p>
          <a:endParaRPr lang="es-ES"/>
        </a:p>
      </dgm:t>
    </dgm:pt>
    <dgm:pt modelId="{25C8B6FB-74B4-4219-8A8D-C5278CF520DC}" type="pres">
      <dgm:prSet presAssocID="{94863DE8-5B02-4F7B-87E2-42E567796015}" presName="outerComposite" presStyleCnt="0">
        <dgm:presLayoutVars>
          <dgm:chMax val="5"/>
          <dgm:dir/>
          <dgm:resizeHandles val="exact"/>
        </dgm:presLayoutVars>
      </dgm:prSet>
      <dgm:spPr/>
    </dgm:pt>
    <dgm:pt modelId="{DE696CD5-4BB6-4E6D-9B9B-D827CC8D4A5F}" type="pres">
      <dgm:prSet presAssocID="{94863DE8-5B02-4F7B-87E2-42E567796015}" presName="dummyMaxCanvas" presStyleCnt="0">
        <dgm:presLayoutVars/>
      </dgm:prSet>
      <dgm:spPr/>
    </dgm:pt>
    <dgm:pt modelId="{1ADAB6B1-BA60-4028-AF1F-3884812B98F8}" type="pres">
      <dgm:prSet presAssocID="{94863DE8-5B02-4F7B-87E2-42E567796015}" presName="ThreeNodes_1" presStyleLbl="node1" presStyleIdx="0" presStyleCnt="3">
        <dgm:presLayoutVars>
          <dgm:bulletEnabled val="1"/>
        </dgm:presLayoutVars>
      </dgm:prSet>
      <dgm:spPr/>
    </dgm:pt>
    <dgm:pt modelId="{5E0A4F47-C5D6-46B4-AC9E-5EFC62D0C3E5}" type="pres">
      <dgm:prSet presAssocID="{94863DE8-5B02-4F7B-87E2-42E567796015}" presName="ThreeNodes_2" presStyleLbl="node1" presStyleIdx="1" presStyleCnt="3">
        <dgm:presLayoutVars>
          <dgm:bulletEnabled val="1"/>
        </dgm:presLayoutVars>
      </dgm:prSet>
      <dgm:spPr/>
    </dgm:pt>
    <dgm:pt modelId="{F914AA3D-AD83-47D5-86FE-3FD07F7D3E89}" type="pres">
      <dgm:prSet presAssocID="{94863DE8-5B02-4F7B-87E2-42E567796015}" presName="ThreeNodes_3" presStyleLbl="node1" presStyleIdx="2" presStyleCnt="3">
        <dgm:presLayoutVars>
          <dgm:bulletEnabled val="1"/>
        </dgm:presLayoutVars>
      </dgm:prSet>
      <dgm:spPr/>
    </dgm:pt>
    <dgm:pt modelId="{5EC40B86-9C8D-4875-902B-31B73AD0B815}" type="pres">
      <dgm:prSet presAssocID="{94863DE8-5B02-4F7B-87E2-42E567796015}" presName="ThreeConn_1-2" presStyleLbl="fgAccFollowNode1" presStyleIdx="0" presStyleCnt="2">
        <dgm:presLayoutVars>
          <dgm:bulletEnabled val="1"/>
        </dgm:presLayoutVars>
      </dgm:prSet>
      <dgm:spPr/>
    </dgm:pt>
    <dgm:pt modelId="{551F2966-B725-47ED-9A54-39D9ADDD9CEA}" type="pres">
      <dgm:prSet presAssocID="{94863DE8-5B02-4F7B-87E2-42E567796015}" presName="ThreeConn_2-3" presStyleLbl="fgAccFollowNode1" presStyleIdx="1" presStyleCnt="2">
        <dgm:presLayoutVars>
          <dgm:bulletEnabled val="1"/>
        </dgm:presLayoutVars>
      </dgm:prSet>
      <dgm:spPr/>
    </dgm:pt>
    <dgm:pt modelId="{59431E8B-73D6-4374-99B9-D5310F35481F}" type="pres">
      <dgm:prSet presAssocID="{94863DE8-5B02-4F7B-87E2-42E567796015}" presName="ThreeNodes_1_text" presStyleLbl="node1" presStyleIdx="2" presStyleCnt="3">
        <dgm:presLayoutVars>
          <dgm:bulletEnabled val="1"/>
        </dgm:presLayoutVars>
      </dgm:prSet>
      <dgm:spPr/>
    </dgm:pt>
    <dgm:pt modelId="{BBF9E7E4-5F45-4E1C-A8D8-0F07126A00D7}" type="pres">
      <dgm:prSet presAssocID="{94863DE8-5B02-4F7B-87E2-42E567796015}" presName="ThreeNodes_2_text" presStyleLbl="node1" presStyleIdx="2" presStyleCnt="3">
        <dgm:presLayoutVars>
          <dgm:bulletEnabled val="1"/>
        </dgm:presLayoutVars>
      </dgm:prSet>
      <dgm:spPr/>
    </dgm:pt>
    <dgm:pt modelId="{25DCC4B0-C1A5-4FC9-BFC4-DEBE9DEF611B}" type="pres">
      <dgm:prSet presAssocID="{94863DE8-5B02-4F7B-87E2-42E567796015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36287920-80A6-4E39-8083-5942FC0496A2}" type="presOf" srcId="{8DE7C0C1-1101-42D5-93C5-2EC1607B9ECB}" destId="{5EC40B86-9C8D-4875-902B-31B73AD0B815}" srcOrd="0" destOrd="0" presId="urn:microsoft.com/office/officeart/2005/8/layout/vProcess5"/>
    <dgm:cxn modelId="{A57B5D2A-B25F-4A9E-9C5C-86A0666F1614}" srcId="{94863DE8-5B02-4F7B-87E2-42E567796015}" destId="{FD836E42-C320-4AF2-B178-51E218B2B518}" srcOrd="0" destOrd="0" parTransId="{7EC8098F-F5FF-45C4-A6B6-D46FD108D1FC}" sibTransId="{8DE7C0C1-1101-42D5-93C5-2EC1607B9ECB}"/>
    <dgm:cxn modelId="{E6EEE635-EB46-48FB-9888-1C2F5B87311B}" type="presOf" srcId="{C3D234EF-6745-4547-A21E-B0F5E6C8F1D6}" destId="{BBF9E7E4-5F45-4E1C-A8D8-0F07126A00D7}" srcOrd="1" destOrd="0" presId="urn:microsoft.com/office/officeart/2005/8/layout/vProcess5"/>
    <dgm:cxn modelId="{467A4E5D-3322-4B73-92B4-31F20615DAE3}" type="presOf" srcId="{1F281358-8762-466C-86AF-DFEF431E99AA}" destId="{25DCC4B0-C1A5-4FC9-BFC4-DEBE9DEF611B}" srcOrd="1" destOrd="0" presId="urn:microsoft.com/office/officeart/2005/8/layout/vProcess5"/>
    <dgm:cxn modelId="{C1CE2C62-D7C1-482A-9D2C-8C8C80B0AFB0}" type="presOf" srcId="{FD836E42-C320-4AF2-B178-51E218B2B518}" destId="{1ADAB6B1-BA60-4028-AF1F-3884812B98F8}" srcOrd="0" destOrd="0" presId="urn:microsoft.com/office/officeart/2005/8/layout/vProcess5"/>
    <dgm:cxn modelId="{863E4B44-3EDD-4FF3-A405-FE5161BF2B38}" type="presOf" srcId="{FD836E42-C320-4AF2-B178-51E218B2B518}" destId="{59431E8B-73D6-4374-99B9-D5310F35481F}" srcOrd="1" destOrd="0" presId="urn:microsoft.com/office/officeart/2005/8/layout/vProcess5"/>
    <dgm:cxn modelId="{72573D54-5F36-4C21-9805-81E4D2F4AF6A}" type="presOf" srcId="{94863DE8-5B02-4F7B-87E2-42E567796015}" destId="{25C8B6FB-74B4-4219-8A8D-C5278CF520DC}" srcOrd="0" destOrd="0" presId="urn:microsoft.com/office/officeart/2005/8/layout/vProcess5"/>
    <dgm:cxn modelId="{BA240F84-31F5-4C5C-9EFB-E64FDC5DD132}" type="presOf" srcId="{C3D234EF-6745-4547-A21E-B0F5E6C8F1D6}" destId="{5E0A4F47-C5D6-46B4-AC9E-5EFC62D0C3E5}" srcOrd="0" destOrd="0" presId="urn:microsoft.com/office/officeart/2005/8/layout/vProcess5"/>
    <dgm:cxn modelId="{C46EE392-068B-47CB-A5BD-A3D8E78BC089}" srcId="{94863DE8-5B02-4F7B-87E2-42E567796015}" destId="{1F281358-8762-466C-86AF-DFEF431E99AA}" srcOrd="2" destOrd="0" parTransId="{33F92EBA-592B-4CC3-86E2-51D19396580F}" sibTransId="{0CA33946-9ED3-4FE8-8011-0894AB594DF4}"/>
    <dgm:cxn modelId="{3F22AB94-8A8A-45B1-8B3F-170D8D839358}" type="presOf" srcId="{91D183C8-ADD0-4EEA-AD9D-783916065B27}" destId="{551F2966-B725-47ED-9A54-39D9ADDD9CEA}" srcOrd="0" destOrd="0" presId="urn:microsoft.com/office/officeart/2005/8/layout/vProcess5"/>
    <dgm:cxn modelId="{EDEADDC6-AA28-4077-8333-152370DC3647}" srcId="{94863DE8-5B02-4F7B-87E2-42E567796015}" destId="{C3D234EF-6745-4547-A21E-B0F5E6C8F1D6}" srcOrd="1" destOrd="0" parTransId="{DDF65950-DA05-40AB-95A4-FEAA6970A00F}" sibTransId="{91D183C8-ADD0-4EEA-AD9D-783916065B27}"/>
    <dgm:cxn modelId="{337D99F0-BCC4-40E4-89AA-E2288F6D6BBD}" type="presOf" srcId="{1F281358-8762-466C-86AF-DFEF431E99AA}" destId="{F914AA3D-AD83-47D5-86FE-3FD07F7D3E89}" srcOrd="0" destOrd="0" presId="urn:microsoft.com/office/officeart/2005/8/layout/vProcess5"/>
    <dgm:cxn modelId="{2CB3E4D0-648D-4297-ACCA-A28F559D2211}" type="presParOf" srcId="{25C8B6FB-74B4-4219-8A8D-C5278CF520DC}" destId="{DE696CD5-4BB6-4E6D-9B9B-D827CC8D4A5F}" srcOrd="0" destOrd="0" presId="urn:microsoft.com/office/officeart/2005/8/layout/vProcess5"/>
    <dgm:cxn modelId="{952AAB7E-575F-4DA2-AE6E-C4F8F75E6A9F}" type="presParOf" srcId="{25C8B6FB-74B4-4219-8A8D-C5278CF520DC}" destId="{1ADAB6B1-BA60-4028-AF1F-3884812B98F8}" srcOrd="1" destOrd="0" presId="urn:microsoft.com/office/officeart/2005/8/layout/vProcess5"/>
    <dgm:cxn modelId="{CA118B7E-CAEA-4E53-90A4-5B04A5C92522}" type="presParOf" srcId="{25C8B6FB-74B4-4219-8A8D-C5278CF520DC}" destId="{5E0A4F47-C5D6-46B4-AC9E-5EFC62D0C3E5}" srcOrd="2" destOrd="0" presId="urn:microsoft.com/office/officeart/2005/8/layout/vProcess5"/>
    <dgm:cxn modelId="{5AA6B958-73FD-4907-8AFD-64AC2518F6C0}" type="presParOf" srcId="{25C8B6FB-74B4-4219-8A8D-C5278CF520DC}" destId="{F914AA3D-AD83-47D5-86FE-3FD07F7D3E89}" srcOrd="3" destOrd="0" presId="urn:microsoft.com/office/officeart/2005/8/layout/vProcess5"/>
    <dgm:cxn modelId="{7F5DF560-3F06-4E2A-8DE8-89BCA284076C}" type="presParOf" srcId="{25C8B6FB-74B4-4219-8A8D-C5278CF520DC}" destId="{5EC40B86-9C8D-4875-902B-31B73AD0B815}" srcOrd="4" destOrd="0" presId="urn:microsoft.com/office/officeart/2005/8/layout/vProcess5"/>
    <dgm:cxn modelId="{BEE09B7C-E27E-4186-9B3A-59B8C3599BF2}" type="presParOf" srcId="{25C8B6FB-74B4-4219-8A8D-C5278CF520DC}" destId="{551F2966-B725-47ED-9A54-39D9ADDD9CEA}" srcOrd="5" destOrd="0" presId="urn:microsoft.com/office/officeart/2005/8/layout/vProcess5"/>
    <dgm:cxn modelId="{64C1E8C6-717F-45E7-B323-18560B04B57C}" type="presParOf" srcId="{25C8B6FB-74B4-4219-8A8D-C5278CF520DC}" destId="{59431E8B-73D6-4374-99B9-D5310F35481F}" srcOrd="6" destOrd="0" presId="urn:microsoft.com/office/officeart/2005/8/layout/vProcess5"/>
    <dgm:cxn modelId="{4C1E219E-189A-4552-9291-66BFC9EAD3B6}" type="presParOf" srcId="{25C8B6FB-74B4-4219-8A8D-C5278CF520DC}" destId="{BBF9E7E4-5F45-4E1C-A8D8-0F07126A00D7}" srcOrd="7" destOrd="0" presId="urn:microsoft.com/office/officeart/2005/8/layout/vProcess5"/>
    <dgm:cxn modelId="{A99A2D19-E272-43FA-AC7D-BB4A7B7E0DF1}" type="presParOf" srcId="{25C8B6FB-74B4-4219-8A8D-C5278CF520DC}" destId="{25DCC4B0-C1A5-4FC9-BFC4-DEBE9DEF611B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EAC9662-00A3-48CA-873D-ADE368C3A008}" type="doc">
      <dgm:prSet loTypeId="urn:microsoft.com/office/officeart/2005/8/layout/v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D5CFA931-D354-4F9A-82FF-00826DD85B97}">
      <dgm:prSet phldrT="[Texto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dirty="0"/>
        </a:p>
      </dgm:t>
    </dgm:pt>
    <dgm:pt modelId="{96C3A4E6-4DC3-4570-B8EF-72F6FFA0127D}" type="parTrans" cxnId="{5F91FD5C-62F2-4598-AF19-E02E941427E1}">
      <dgm:prSet/>
      <dgm:spPr/>
      <dgm:t>
        <a:bodyPr/>
        <a:lstStyle/>
        <a:p>
          <a:endParaRPr lang="es-ES" sz="1400"/>
        </a:p>
      </dgm:t>
    </dgm:pt>
    <dgm:pt modelId="{7C05678B-E47F-41A3-9FC5-EA8126AA96FB}" type="sibTrans" cxnId="{5F91FD5C-62F2-4598-AF19-E02E941427E1}">
      <dgm:prSet custT="1"/>
      <dgm:spPr/>
      <dgm:t>
        <a:bodyPr/>
        <a:lstStyle/>
        <a:p>
          <a:endParaRPr lang="es-ES" sz="1400"/>
        </a:p>
      </dgm:t>
    </dgm:pt>
    <dgm:pt modelId="{AC90DC2D-BCD4-4FF3-BB0F-8ED358BF9725}">
      <dgm:prSet phldrT="[Texto]" custT="1"/>
      <dgm:spPr/>
      <dgm:t>
        <a:bodyPr anchor="t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dirty="0"/>
        </a:p>
      </dgm:t>
    </dgm:pt>
    <dgm:pt modelId="{D123DEED-D7F5-4855-8B6C-6DD49373BD88}" type="parTrans" cxnId="{62D54BBB-EB7F-46CB-996D-60FB52652FF7}">
      <dgm:prSet/>
      <dgm:spPr/>
      <dgm:t>
        <a:bodyPr/>
        <a:lstStyle/>
        <a:p>
          <a:endParaRPr lang="es-ES" sz="1400"/>
        </a:p>
      </dgm:t>
    </dgm:pt>
    <dgm:pt modelId="{667639DA-71C5-455A-9008-5314A56CDB3C}" type="sibTrans" cxnId="{62D54BBB-EB7F-46CB-996D-60FB52652FF7}">
      <dgm:prSet custT="1"/>
      <dgm:spPr/>
      <dgm:t>
        <a:bodyPr/>
        <a:lstStyle/>
        <a:p>
          <a:endParaRPr lang="es-ES" sz="1400"/>
        </a:p>
      </dgm:t>
    </dgm:pt>
    <dgm:pt modelId="{0C42A297-7DC0-4A27-805C-A4CC6DFE2611}">
      <dgm:prSet custT="1"/>
      <dgm:spPr/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dirty="0"/>
        </a:p>
      </dgm:t>
    </dgm:pt>
    <dgm:pt modelId="{D0F7AC20-FF72-4C6C-9563-BED22F8ACD70}" type="parTrans" cxnId="{31CF3B28-2FBA-4B5B-99A9-27BFE922308A}">
      <dgm:prSet/>
      <dgm:spPr/>
      <dgm:t>
        <a:bodyPr/>
        <a:lstStyle/>
        <a:p>
          <a:endParaRPr lang="es-ES" sz="1400"/>
        </a:p>
      </dgm:t>
    </dgm:pt>
    <dgm:pt modelId="{DF298EF0-AA71-4A66-BF4C-0A379B9C8B4E}" type="sibTrans" cxnId="{31CF3B28-2FBA-4B5B-99A9-27BFE922308A}">
      <dgm:prSet/>
      <dgm:spPr/>
      <dgm:t>
        <a:bodyPr/>
        <a:lstStyle/>
        <a:p>
          <a:endParaRPr lang="es-ES" sz="1400"/>
        </a:p>
      </dgm:t>
    </dgm:pt>
    <dgm:pt modelId="{DE572AD6-2AB5-40EB-B78B-C4AC4116CE56}" type="pres">
      <dgm:prSet presAssocID="{FEAC9662-00A3-48CA-873D-ADE368C3A008}" presName="outerComposite" presStyleCnt="0">
        <dgm:presLayoutVars>
          <dgm:chMax val="5"/>
          <dgm:dir/>
          <dgm:resizeHandles val="exact"/>
        </dgm:presLayoutVars>
      </dgm:prSet>
      <dgm:spPr/>
    </dgm:pt>
    <dgm:pt modelId="{40976963-A581-4AE9-BF2E-BE4DD5A97671}" type="pres">
      <dgm:prSet presAssocID="{FEAC9662-00A3-48CA-873D-ADE368C3A008}" presName="dummyMaxCanvas" presStyleCnt="0">
        <dgm:presLayoutVars/>
      </dgm:prSet>
      <dgm:spPr/>
    </dgm:pt>
    <dgm:pt modelId="{2B1991C8-7456-49CA-BEFB-C742C5A68050}" type="pres">
      <dgm:prSet presAssocID="{FEAC9662-00A3-48CA-873D-ADE368C3A008}" presName="ThreeNodes_1" presStyleLbl="node1" presStyleIdx="0" presStyleCnt="3" custScaleX="94735" custScaleY="47206">
        <dgm:presLayoutVars>
          <dgm:bulletEnabled val="1"/>
        </dgm:presLayoutVars>
      </dgm:prSet>
      <dgm:spPr/>
    </dgm:pt>
    <dgm:pt modelId="{84A6D045-88AA-4B0C-8652-6B8CFFA8F9B5}" type="pres">
      <dgm:prSet presAssocID="{FEAC9662-00A3-48CA-873D-ADE368C3A008}" presName="ThreeNodes_2" presStyleLbl="node1" presStyleIdx="1" presStyleCnt="3" custScaleY="76651">
        <dgm:presLayoutVars>
          <dgm:bulletEnabled val="1"/>
        </dgm:presLayoutVars>
      </dgm:prSet>
      <dgm:spPr/>
    </dgm:pt>
    <dgm:pt modelId="{BA9F8325-AAB7-4547-B5C8-93629632EB23}" type="pres">
      <dgm:prSet presAssocID="{FEAC9662-00A3-48CA-873D-ADE368C3A008}" presName="ThreeNodes_3" presStyleLbl="node1" presStyleIdx="2" presStyleCnt="3" custScaleX="101086" custScaleY="79152" custLinFactNeighborX="-271" custLinFactNeighborY="-1822">
        <dgm:presLayoutVars>
          <dgm:bulletEnabled val="1"/>
        </dgm:presLayoutVars>
      </dgm:prSet>
      <dgm:spPr/>
    </dgm:pt>
    <dgm:pt modelId="{5E06D0ED-8415-45CB-B0DE-7CCA883CE8A8}" type="pres">
      <dgm:prSet presAssocID="{FEAC9662-00A3-48CA-873D-ADE368C3A008}" presName="ThreeConn_1-2" presStyleLbl="fgAccFollowNode1" presStyleIdx="0" presStyleCnt="2" custLinFactNeighborX="133" custLinFactNeighborY="-14613">
        <dgm:presLayoutVars>
          <dgm:bulletEnabled val="1"/>
        </dgm:presLayoutVars>
      </dgm:prSet>
      <dgm:spPr/>
    </dgm:pt>
    <dgm:pt modelId="{CCC45063-63D6-42E4-9946-AC3939217548}" type="pres">
      <dgm:prSet presAssocID="{FEAC9662-00A3-48CA-873D-ADE368C3A008}" presName="ThreeConn_2-3" presStyleLbl="fgAccFollowNode1" presStyleIdx="1" presStyleCnt="2">
        <dgm:presLayoutVars>
          <dgm:bulletEnabled val="1"/>
        </dgm:presLayoutVars>
      </dgm:prSet>
      <dgm:spPr/>
    </dgm:pt>
    <dgm:pt modelId="{298276F9-7D65-4174-99DB-01ECF9CF31B2}" type="pres">
      <dgm:prSet presAssocID="{FEAC9662-00A3-48CA-873D-ADE368C3A008}" presName="ThreeNodes_1_text" presStyleLbl="node1" presStyleIdx="2" presStyleCnt="3">
        <dgm:presLayoutVars>
          <dgm:bulletEnabled val="1"/>
        </dgm:presLayoutVars>
      </dgm:prSet>
      <dgm:spPr/>
    </dgm:pt>
    <dgm:pt modelId="{B55966E9-43EB-4C46-A7DC-460A3F893B0E}" type="pres">
      <dgm:prSet presAssocID="{FEAC9662-00A3-48CA-873D-ADE368C3A008}" presName="ThreeNodes_2_text" presStyleLbl="node1" presStyleIdx="2" presStyleCnt="3">
        <dgm:presLayoutVars>
          <dgm:bulletEnabled val="1"/>
        </dgm:presLayoutVars>
      </dgm:prSet>
      <dgm:spPr/>
    </dgm:pt>
    <dgm:pt modelId="{70811929-FAD8-4DA9-845D-9C12978DAB4F}" type="pres">
      <dgm:prSet presAssocID="{FEAC9662-00A3-48CA-873D-ADE368C3A008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38B86627-E583-4FAB-A8C4-365C04A03ED0}" type="presOf" srcId="{AC90DC2D-BCD4-4FF3-BB0F-8ED358BF9725}" destId="{84A6D045-88AA-4B0C-8652-6B8CFFA8F9B5}" srcOrd="0" destOrd="0" presId="urn:microsoft.com/office/officeart/2005/8/layout/vProcess5"/>
    <dgm:cxn modelId="{31CF3B28-2FBA-4B5B-99A9-27BFE922308A}" srcId="{FEAC9662-00A3-48CA-873D-ADE368C3A008}" destId="{0C42A297-7DC0-4A27-805C-A4CC6DFE2611}" srcOrd="2" destOrd="0" parTransId="{D0F7AC20-FF72-4C6C-9563-BED22F8ACD70}" sibTransId="{DF298EF0-AA71-4A66-BF4C-0A379B9C8B4E}"/>
    <dgm:cxn modelId="{EE19A532-2D50-4433-9E4F-C8F15ACD8FEE}" type="presOf" srcId="{D5CFA931-D354-4F9A-82FF-00826DD85B97}" destId="{2B1991C8-7456-49CA-BEFB-C742C5A68050}" srcOrd="0" destOrd="0" presId="urn:microsoft.com/office/officeart/2005/8/layout/vProcess5"/>
    <dgm:cxn modelId="{7EBDB639-DD69-4035-9797-7BD110D1BE01}" type="presOf" srcId="{667639DA-71C5-455A-9008-5314A56CDB3C}" destId="{CCC45063-63D6-42E4-9946-AC3939217548}" srcOrd="0" destOrd="0" presId="urn:microsoft.com/office/officeart/2005/8/layout/vProcess5"/>
    <dgm:cxn modelId="{5F91FD5C-62F2-4598-AF19-E02E941427E1}" srcId="{FEAC9662-00A3-48CA-873D-ADE368C3A008}" destId="{D5CFA931-D354-4F9A-82FF-00826DD85B97}" srcOrd="0" destOrd="0" parTransId="{96C3A4E6-4DC3-4570-B8EF-72F6FFA0127D}" sibTransId="{7C05678B-E47F-41A3-9FC5-EA8126AA96FB}"/>
    <dgm:cxn modelId="{B98ECC66-C590-49E5-8205-CC5158F4C748}" type="presOf" srcId="{0C42A297-7DC0-4A27-805C-A4CC6DFE2611}" destId="{70811929-FAD8-4DA9-845D-9C12978DAB4F}" srcOrd="1" destOrd="0" presId="urn:microsoft.com/office/officeart/2005/8/layout/vProcess5"/>
    <dgm:cxn modelId="{677CB968-1D3D-4D55-84E2-B934F7F7B428}" type="presOf" srcId="{7C05678B-E47F-41A3-9FC5-EA8126AA96FB}" destId="{5E06D0ED-8415-45CB-B0DE-7CCA883CE8A8}" srcOrd="0" destOrd="0" presId="urn:microsoft.com/office/officeart/2005/8/layout/vProcess5"/>
    <dgm:cxn modelId="{8E3D7173-1BA6-4328-A434-42378F38B9AC}" type="presOf" srcId="{D5CFA931-D354-4F9A-82FF-00826DD85B97}" destId="{298276F9-7D65-4174-99DB-01ECF9CF31B2}" srcOrd="1" destOrd="0" presId="urn:microsoft.com/office/officeart/2005/8/layout/vProcess5"/>
    <dgm:cxn modelId="{09D6728F-3EC5-45E8-AE30-FAF952158A97}" type="presOf" srcId="{AC90DC2D-BCD4-4FF3-BB0F-8ED358BF9725}" destId="{B55966E9-43EB-4C46-A7DC-460A3F893B0E}" srcOrd="1" destOrd="0" presId="urn:microsoft.com/office/officeart/2005/8/layout/vProcess5"/>
    <dgm:cxn modelId="{2ED5FBAC-077D-4568-96AA-F2D64C4A6ED8}" type="presOf" srcId="{FEAC9662-00A3-48CA-873D-ADE368C3A008}" destId="{DE572AD6-2AB5-40EB-B78B-C4AC4116CE56}" srcOrd="0" destOrd="0" presId="urn:microsoft.com/office/officeart/2005/8/layout/vProcess5"/>
    <dgm:cxn modelId="{62D54BBB-EB7F-46CB-996D-60FB52652FF7}" srcId="{FEAC9662-00A3-48CA-873D-ADE368C3A008}" destId="{AC90DC2D-BCD4-4FF3-BB0F-8ED358BF9725}" srcOrd="1" destOrd="0" parTransId="{D123DEED-D7F5-4855-8B6C-6DD49373BD88}" sibTransId="{667639DA-71C5-455A-9008-5314A56CDB3C}"/>
    <dgm:cxn modelId="{A29328C9-DDA5-4C42-8FAE-F6E8356B1CD1}" type="presOf" srcId="{0C42A297-7DC0-4A27-805C-A4CC6DFE2611}" destId="{BA9F8325-AAB7-4547-B5C8-93629632EB23}" srcOrd="0" destOrd="0" presId="urn:microsoft.com/office/officeart/2005/8/layout/vProcess5"/>
    <dgm:cxn modelId="{B8D9F2D5-FFE2-4098-84AE-BCCB3432D99F}" type="presParOf" srcId="{DE572AD6-2AB5-40EB-B78B-C4AC4116CE56}" destId="{40976963-A581-4AE9-BF2E-BE4DD5A97671}" srcOrd="0" destOrd="0" presId="urn:microsoft.com/office/officeart/2005/8/layout/vProcess5"/>
    <dgm:cxn modelId="{322BC721-F4F7-47CE-AA38-D55E0140200F}" type="presParOf" srcId="{DE572AD6-2AB5-40EB-B78B-C4AC4116CE56}" destId="{2B1991C8-7456-49CA-BEFB-C742C5A68050}" srcOrd="1" destOrd="0" presId="urn:microsoft.com/office/officeart/2005/8/layout/vProcess5"/>
    <dgm:cxn modelId="{AD9193D6-35D5-4938-B0F6-C9D5098CD57D}" type="presParOf" srcId="{DE572AD6-2AB5-40EB-B78B-C4AC4116CE56}" destId="{84A6D045-88AA-4B0C-8652-6B8CFFA8F9B5}" srcOrd="2" destOrd="0" presId="urn:microsoft.com/office/officeart/2005/8/layout/vProcess5"/>
    <dgm:cxn modelId="{BBF3279D-45B9-48BF-8EDB-C7CCB2442E4B}" type="presParOf" srcId="{DE572AD6-2AB5-40EB-B78B-C4AC4116CE56}" destId="{BA9F8325-AAB7-4547-B5C8-93629632EB23}" srcOrd="3" destOrd="0" presId="urn:microsoft.com/office/officeart/2005/8/layout/vProcess5"/>
    <dgm:cxn modelId="{4746DBC5-E772-4184-BF27-7164EF4F3FA6}" type="presParOf" srcId="{DE572AD6-2AB5-40EB-B78B-C4AC4116CE56}" destId="{5E06D0ED-8415-45CB-B0DE-7CCA883CE8A8}" srcOrd="4" destOrd="0" presId="urn:microsoft.com/office/officeart/2005/8/layout/vProcess5"/>
    <dgm:cxn modelId="{9AAAF21E-9F5B-4644-A512-12CA0B1C8016}" type="presParOf" srcId="{DE572AD6-2AB5-40EB-B78B-C4AC4116CE56}" destId="{CCC45063-63D6-42E4-9946-AC3939217548}" srcOrd="5" destOrd="0" presId="urn:microsoft.com/office/officeart/2005/8/layout/vProcess5"/>
    <dgm:cxn modelId="{FFAAD77B-C94A-48E4-9557-1C6BE7C43048}" type="presParOf" srcId="{DE572AD6-2AB5-40EB-B78B-C4AC4116CE56}" destId="{298276F9-7D65-4174-99DB-01ECF9CF31B2}" srcOrd="6" destOrd="0" presId="urn:microsoft.com/office/officeart/2005/8/layout/vProcess5"/>
    <dgm:cxn modelId="{D16889A1-CDD4-4C01-9BF8-8D8583D952D4}" type="presParOf" srcId="{DE572AD6-2AB5-40EB-B78B-C4AC4116CE56}" destId="{B55966E9-43EB-4C46-A7DC-460A3F893B0E}" srcOrd="7" destOrd="0" presId="urn:microsoft.com/office/officeart/2005/8/layout/vProcess5"/>
    <dgm:cxn modelId="{F200A006-DE33-4F28-9662-549F0F6AC99E}" type="presParOf" srcId="{DE572AD6-2AB5-40EB-B78B-C4AC4116CE56}" destId="{70811929-FAD8-4DA9-845D-9C12978DAB4F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EAC9662-00A3-48CA-873D-ADE368C3A008}" type="doc">
      <dgm:prSet loTypeId="urn:microsoft.com/office/officeart/2005/8/layout/v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D5CFA931-D354-4F9A-82FF-00826DD85B97}">
      <dgm:prSet phldrT="[Texto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dirty="0"/>
        </a:p>
      </dgm:t>
    </dgm:pt>
    <dgm:pt modelId="{96C3A4E6-4DC3-4570-B8EF-72F6FFA0127D}" type="parTrans" cxnId="{5F91FD5C-62F2-4598-AF19-E02E941427E1}">
      <dgm:prSet/>
      <dgm:spPr/>
      <dgm:t>
        <a:bodyPr/>
        <a:lstStyle/>
        <a:p>
          <a:endParaRPr lang="es-ES" sz="1400"/>
        </a:p>
      </dgm:t>
    </dgm:pt>
    <dgm:pt modelId="{7C05678B-E47F-41A3-9FC5-EA8126AA96FB}" type="sibTrans" cxnId="{5F91FD5C-62F2-4598-AF19-E02E941427E1}">
      <dgm:prSet custT="1"/>
      <dgm:spPr/>
      <dgm:t>
        <a:bodyPr/>
        <a:lstStyle/>
        <a:p>
          <a:endParaRPr lang="es-ES" sz="1400"/>
        </a:p>
      </dgm:t>
    </dgm:pt>
    <dgm:pt modelId="{AC90DC2D-BCD4-4FF3-BB0F-8ED358BF9725}">
      <dgm:prSet phldrT="[Texto]" custT="1"/>
      <dgm:spPr/>
      <dgm:t>
        <a:bodyPr anchor="t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dirty="0"/>
        </a:p>
      </dgm:t>
    </dgm:pt>
    <dgm:pt modelId="{D123DEED-D7F5-4855-8B6C-6DD49373BD88}" type="parTrans" cxnId="{62D54BBB-EB7F-46CB-996D-60FB52652FF7}">
      <dgm:prSet/>
      <dgm:spPr/>
      <dgm:t>
        <a:bodyPr/>
        <a:lstStyle/>
        <a:p>
          <a:endParaRPr lang="es-ES" sz="1400"/>
        </a:p>
      </dgm:t>
    </dgm:pt>
    <dgm:pt modelId="{667639DA-71C5-455A-9008-5314A56CDB3C}" type="sibTrans" cxnId="{62D54BBB-EB7F-46CB-996D-60FB52652FF7}">
      <dgm:prSet custT="1"/>
      <dgm:spPr/>
      <dgm:t>
        <a:bodyPr/>
        <a:lstStyle/>
        <a:p>
          <a:endParaRPr lang="es-ES" sz="1400"/>
        </a:p>
      </dgm:t>
    </dgm:pt>
    <dgm:pt modelId="{0C42A297-7DC0-4A27-805C-A4CC6DFE2611}">
      <dgm:prSet custT="1"/>
      <dgm:spPr/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dirty="0"/>
        </a:p>
      </dgm:t>
    </dgm:pt>
    <dgm:pt modelId="{D0F7AC20-FF72-4C6C-9563-BED22F8ACD70}" type="parTrans" cxnId="{31CF3B28-2FBA-4B5B-99A9-27BFE922308A}">
      <dgm:prSet/>
      <dgm:spPr/>
      <dgm:t>
        <a:bodyPr/>
        <a:lstStyle/>
        <a:p>
          <a:endParaRPr lang="es-ES" sz="1400"/>
        </a:p>
      </dgm:t>
    </dgm:pt>
    <dgm:pt modelId="{DF298EF0-AA71-4A66-BF4C-0A379B9C8B4E}" type="sibTrans" cxnId="{31CF3B28-2FBA-4B5B-99A9-27BFE922308A}">
      <dgm:prSet/>
      <dgm:spPr/>
      <dgm:t>
        <a:bodyPr/>
        <a:lstStyle/>
        <a:p>
          <a:endParaRPr lang="es-ES" sz="1400"/>
        </a:p>
      </dgm:t>
    </dgm:pt>
    <dgm:pt modelId="{DE572AD6-2AB5-40EB-B78B-C4AC4116CE56}" type="pres">
      <dgm:prSet presAssocID="{FEAC9662-00A3-48CA-873D-ADE368C3A008}" presName="outerComposite" presStyleCnt="0">
        <dgm:presLayoutVars>
          <dgm:chMax val="5"/>
          <dgm:dir/>
          <dgm:resizeHandles val="exact"/>
        </dgm:presLayoutVars>
      </dgm:prSet>
      <dgm:spPr/>
    </dgm:pt>
    <dgm:pt modelId="{40976963-A581-4AE9-BF2E-BE4DD5A97671}" type="pres">
      <dgm:prSet presAssocID="{FEAC9662-00A3-48CA-873D-ADE368C3A008}" presName="dummyMaxCanvas" presStyleCnt="0">
        <dgm:presLayoutVars/>
      </dgm:prSet>
      <dgm:spPr/>
    </dgm:pt>
    <dgm:pt modelId="{2B1991C8-7456-49CA-BEFB-C742C5A68050}" type="pres">
      <dgm:prSet presAssocID="{FEAC9662-00A3-48CA-873D-ADE368C3A008}" presName="ThreeNodes_1" presStyleLbl="node1" presStyleIdx="0" presStyleCnt="3" custScaleX="94735" custScaleY="63017">
        <dgm:presLayoutVars>
          <dgm:bulletEnabled val="1"/>
        </dgm:presLayoutVars>
      </dgm:prSet>
      <dgm:spPr/>
    </dgm:pt>
    <dgm:pt modelId="{84A6D045-88AA-4B0C-8652-6B8CFFA8F9B5}" type="pres">
      <dgm:prSet presAssocID="{FEAC9662-00A3-48CA-873D-ADE368C3A008}" presName="ThreeNodes_2" presStyleLbl="node1" presStyleIdx="1" presStyleCnt="3" custScaleY="76651">
        <dgm:presLayoutVars>
          <dgm:bulletEnabled val="1"/>
        </dgm:presLayoutVars>
      </dgm:prSet>
      <dgm:spPr/>
    </dgm:pt>
    <dgm:pt modelId="{BA9F8325-AAB7-4547-B5C8-93629632EB23}" type="pres">
      <dgm:prSet presAssocID="{FEAC9662-00A3-48CA-873D-ADE368C3A008}" presName="ThreeNodes_3" presStyleLbl="node1" presStyleIdx="2" presStyleCnt="3" custScaleX="101086" custScaleY="79152" custLinFactNeighborX="432" custLinFactNeighborY="15956">
        <dgm:presLayoutVars>
          <dgm:bulletEnabled val="1"/>
        </dgm:presLayoutVars>
      </dgm:prSet>
      <dgm:spPr/>
    </dgm:pt>
    <dgm:pt modelId="{5E06D0ED-8415-45CB-B0DE-7CCA883CE8A8}" type="pres">
      <dgm:prSet presAssocID="{FEAC9662-00A3-48CA-873D-ADE368C3A008}" presName="ThreeConn_1-2" presStyleLbl="fgAccFollowNode1" presStyleIdx="0" presStyleCnt="2" custLinFactNeighborX="133" custLinFactNeighborY="-14613">
        <dgm:presLayoutVars>
          <dgm:bulletEnabled val="1"/>
        </dgm:presLayoutVars>
      </dgm:prSet>
      <dgm:spPr/>
    </dgm:pt>
    <dgm:pt modelId="{CCC45063-63D6-42E4-9946-AC3939217548}" type="pres">
      <dgm:prSet presAssocID="{FEAC9662-00A3-48CA-873D-ADE368C3A008}" presName="ThreeConn_2-3" presStyleLbl="fgAccFollowNode1" presStyleIdx="1" presStyleCnt="2">
        <dgm:presLayoutVars>
          <dgm:bulletEnabled val="1"/>
        </dgm:presLayoutVars>
      </dgm:prSet>
      <dgm:spPr/>
    </dgm:pt>
    <dgm:pt modelId="{298276F9-7D65-4174-99DB-01ECF9CF31B2}" type="pres">
      <dgm:prSet presAssocID="{FEAC9662-00A3-48CA-873D-ADE368C3A008}" presName="ThreeNodes_1_text" presStyleLbl="node1" presStyleIdx="2" presStyleCnt="3">
        <dgm:presLayoutVars>
          <dgm:bulletEnabled val="1"/>
        </dgm:presLayoutVars>
      </dgm:prSet>
      <dgm:spPr/>
    </dgm:pt>
    <dgm:pt modelId="{B55966E9-43EB-4C46-A7DC-460A3F893B0E}" type="pres">
      <dgm:prSet presAssocID="{FEAC9662-00A3-48CA-873D-ADE368C3A008}" presName="ThreeNodes_2_text" presStyleLbl="node1" presStyleIdx="2" presStyleCnt="3">
        <dgm:presLayoutVars>
          <dgm:bulletEnabled val="1"/>
        </dgm:presLayoutVars>
      </dgm:prSet>
      <dgm:spPr/>
    </dgm:pt>
    <dgm:pt modelId="{70811929-FAD8-4DA9-845D-9C12978DAB4F}" type="pres">
      <dgm:prSet presAssocID="{FEAC9662-00A3-48CA-873D-ADE368C3A008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38B86627-E583-4FAB-A8C4-365C04A03ED0}" type="presOf" srcId="{AC90DC2D-BCD4-4FF3-BB0F-8ED358BF9725}" destId="{84A6D045-88AA-4B0C-8652-6B8CFFA8F9B5}" srcOrd="0" destOrd="0" presId="urn:microsoft.com/office/officeart/2005/8/layout/vProcess5"/>
    <dgm:cxn modelId="{31CF3B28-2FBA-4B5B-99A9-27BFE922308A}" srcId="{FEAC9662-00A3-48CA-873D-ADE368C3A008}" destId="{0C42A297-7DC0-4A27-805C-A4CC6DFE2611}" srcOrd="2" destOrd="0" parTransId="{D0F7AC20-FF72-4C6C-9563-BED22F8ACD70}" sibTransId="{DF298EF0-AA71-4A66-BF4C-0A379B9C8B4E}"/>
    <dgm:cxn modelId="{EE19A532-2D50-4433-9E4F-C8F15ACD8FEE}" type="presOf" srcId="{D5CFA931-D354-4F9A-82FF-00826DD85B97}" destId="{2B1991C8-7456-49CA-BEFB-C742C5A68050}" srcOrd="0" destOrd="0" presId="urn:microsoft.com/office/officeart/2005/8/layout/vProcess5"/>
    <dgm:cxn modelId="{7EBDB639-DD69-4035-9797-7BD110D1BE01}" type="presOf" srcId="{667639DA-71C5-455A-9008-5314A56CDB3C}" destId="{CCC45063-63D6-42E4-9946-AC3939217548}" srcOrd="0" destOrd="0" presId="urn:microsoft.com/office/officeart/2005/8/layout/vProcess5"/>
    <dgm:cxn modelId="{5F91FD5C-62F2-4598-AF19-E02E941427E1}" srcId="{FEAC9662-00A3-48CA-873D-ADE368C3A008}" destId="{D5CFA931-D354-4F9A-82FF-00826DD85B97}" srcOrd="0" destOrd="0" parTransId="{96C3A4E6-4DC3-4570-B8EF-72F6FFA0127D}" sibTransId="{7C05678B-E47F-41A3-9FC5-EA8126AA96FB}"/>
    <dgm:cxn modelId="{B98ECC66-C590-49E5-8205-CC5158F4C748}" type="presOf" srcId="{0C42A297-7DC0-4A27-805C-A4CC6DFE2611}" destId="{70811929-FAD8-4DA9-845D-9C12978DAB4F}" srcOrd="1" destOrd="0" presId="urn:microsoft.com/office/officeart/2005/8/layout/vProcess5"/>
    <dgm:cxn modelId="{677CB968-1D3D-4D55-84E2-B934F7F7B428}" type="presOf" srcId="{7C05678B-E47F-41A3-9FC5-EA8126AA96FB}" destId="{5E06D0ED-8415-45CB-B0DE-7CCA883CE8A8}" srcOrd="0" destOrd="0" presId="urn:microsoft.com/office/officeart/2005/8/layout/vProcess5"/>
    <dgm:cxn modelId="{8E3D7173-1BA6-4328-A434-42378F38B9AC}" type="presOf" srcId="{D5CFA931-D354-4F9A-82FF-00826DD85B97}" destId="{298276F9-7D65-4174-99DB-01ECF9CF31B2}" srcOrd="1" destOrd="0" presId="urn:microsoft.com/office/officeart/2005/8/layout/vProcess5"/>
    <dgm:cxn modelId="{09D6728F-3EC5-45E8-AE30-FAF952158A97}" type="presOf" srcId="{AC90DC2D-BCD4-4FF3-BB0F-8ED358BF9725}" destId="{B55966E9-43EB-4C46-A7DC-460A3F893B0E}" srcOrd="1" destOrd="0" presId="urn:microsoft.com/office/officeart/2005/8/layout/vProcess5"/>
    <dgm:cxn modelId="{2ED5FBAC-077D-4568-96AA-F2D64C4A6ED8}" type="presOf" srcId="{FEAC9662-00A3-48CA-873D-ADE368C3A008}" destId="{DE572AD6-2AB5-40EB-B78B-C4AC4116CE56}" srcOrd="0" destOrd="0" presId="urn:microsoft.com/office/officeart/2005/8/layout/vProcess5"/>
    <dgm:cxn modelId="{62D54BBB-EB7F-46CB-996D-60FB52652FF7}" srcId="{FEAC9662-00A3-48CA-873D-ADE368C3A008}" destId="{AC90DC2D-BCD4-4FF3-BB0F-8ED358BF9725}" srcOrd="1" destOrd="0" parTransId="{D123DEED-D7F5-4855-8B6C-6DD49373BD88}" sibTransId="{667639DA-71C5-455A-9008-5314A56CDB3C}"/>
    <dgm:cxn modelId="{A29328C9-DDA5-4C42-8FAE-F6E8356B1CD1}" type="presOf" srcId="{0C42A297-7DC0-4A27-805C-A4CC6DFE2611}" destId="{BA9F8325-AAB7-4547-B5C8-93629632EB23}" srcOrd="0" destOrd="0" presId="urn:microsoft.com/office/officeart/2005/8/layout/vProcess5"/>
    <dgm:cxn modelId="{B8D9F2D5-FFE2-4098-84AE-BCCB3432D99F}" type="presParOf" srcId="{DE572AD6-2AB5-40EB-B78B-C4AC4116CE56}" destId="{40976963-A581-4AE9-BF2E-BE4DD5A97671}" srcOrd="0" destOrd="0" presId="urn:microsoft.com/office/officeart/2005/8/layout/vProcess5"/>
    <dgm:cxn modelId="{322BC721-F4F7-47CE-AA38-D55E0140200F}" type="presParOf" srcId="{DE572AD6-2AB5-40EB-B78B-C4AC4116CE56}" destId="{2B1991C8-7456-49CA-BEFB-C742C5A68050}" srcOrd="1" destOrd="0" presId="urn:microsoft.com/office/officeart/2005/8/layout/vProcess5"/>
    <dgm:cxn modelId="{AD9193D6-35D5-4938-B0F6-C9D5098CD57D}" type="presParOf" srcId="{DE572AD6-2AB5-40EB-B78B-C4AC4116CE56}" destId="{84A6D045-88AA-4B0C-8652-6B8CFFA8F9B5}" srcOrd="2" destOrd="0" presId="urn:microsoft.com/office/officeart/2005/8/layout/vProcess5"/>
    <dgm:cxn modelId="{BBF3279D-45B9-48BF-8EDB-C7CCB2442E4B}" type="presParOf" srcId="{DE572AD6-2AB5-40EB-B78B-C4AC4116CE56}" destId="{BA9F8325-AAB7-4547-B5C8-93629632EB23}" srcOrd="3" destOrd="0" presId="urn:microsoft.com/office/officeart/2005/8/layout/vProcess5"/>
    <dgm:cxn modelId="{4746DBC5-E772-4184-BF27-7164EF4F3FA6}" type="presParOf" srcId="{DE572AD6-2AB5-40EB-B78B-C4AC4116CE56}" destId="{5E06D0ED-8415-45CB-B0DE-7CCA883CE8A8}" srcOrd="4" destOrd="0" presId="urn:microsoft.com/office/officeart/2005/8/layout/vProcess5"/>
    <dgm:cxn modelId="{9AAAF21E-9F5B-4644-A512-12CA0B1C8016}" type="presParOf" srcId="{DE572AD6-2AB5-40EB-B78B-C4AC4116CE56}" destId="{CCC45063-63D6-42E4-9946-AC3939217548}" srcOrd="5" destOrd="0" presId="urn:microsoft.com/office/officeart/2005/8/layout/vProcess5"/>
    <dgm:cxn modelId="{FFAAD77B-C94A-48E4-9557-1C6BE7C43048}" type="presParOf" srcId="{DE572AD6-2AB5-40EB-B78B-C4AC4116CE56}" destId="{298276F9-7D65-4174-99DB-01ECF9CF31B2}" srcOrd="6" destOrd="0" presId="urn:microsoft.com/office/officeart/2005/8/layout/vProcess5"/>
    <dgm:cxn modelId="{D16889A1-CDD4-4C01-9BF8-8D8583D952D4}" type="presParOf" srcId="{DE572AD6-2AB5-40EB-B78B-C4AC4116CE56}" destId="{B55966E9-43EB-4C46-A7DC-460A3F893B0E}" srcOrd="7" destOrd="0" presId="urn:microsoft.com/office/officeart/2005/8/layout/vProcess5"/>
    <dgm:cxn modelId="{F200A006-DE33-4F28-9662-549F0F6AC99E}" type="presParOf" srcId="{DE572AD6-2AB5-40EB-B78B-C4AC4116CE56}" destId="{70811929-FAD8-4DA9-845D-9C12978DAB4F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EAC9662-00A3-48CA-873D-ADE368C3A008}" type="doc">
      <dgm:prSet loTypeId="urn:microsoft.com/office/officeart/2005/8/layout/vProcess5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ES"/>
        </a:p>
      </dgm:t>
    </dgm:pt>
    <dgm:pt modelId="{D5CFA931-D354-4F9A-82FF-00826DD85B97}">
      <dgm:prSet phldrT="[Texto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dirty="0"/>
        </a:p>
      </dgm:t>
    </dgm:pt>
    <dgm:pt modelId="{96C3A4E6-4DC3-4570-B8EF-72F6FFA0127D}" type="parTrans" cxnId="{5F91FD5C-62F2-4598-AF19-E02E941427E1}">
      <dgm:prSet/>
      <dgm:spPr/>
      <dgm:t>
        <a:bodyPr/>
        <a:lstStyle/>
        <a:p>
          <a:endParaRPr lang="es-ES" sz="1400"/>
        </a:p>
      </dgm:t>
    </dgm:pt>
    <dgm:pt modelId="{7C05678B-E47F-41A3-9FC5-EA8126AA96FB}" type="sibTrans" cxnId="{5F91FD5C-62F2-4598-AF19-E02E941427E1}">
      <dgm:prSet custT="1"/>
      <dgm:spPr/>
      <dgm:t>
        <a:bodyPr/>
        <a:lstStyle/>
        <a:p>
          <a:endParaRPr lang="es-ES" sz="1400"/>
        </a:p>
      </dgm:t>
    </dgm:pt>
    <dgm:pt modelId="{AC90DC2D-BCD4-4FF3-BB0F-8ED358BF9725}">
      <dgm:prSet phldrT="[Texto]" custT="1"/>
      <dgm:spPr/>
      <dgm:t>
        <a:bodyPr anchor="t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dirty="0"/>
        </a:p>
      </dgm:t>
    </dgm:pt>
    <dgm:pt modelId="{D123DEED-D7F5-4855-8B6C-6DD49373BD88}" type="parTrans" cxnId="{62D54BBB-EB7F-46CB-996D-60FB52652FF7}">
      <dgm:prSet/>
      <dgm:spPr/>
      <dgm:t>
        <a:bodyPr/>
        <a:lstStyle/>
        <a:p>
          <a:endParaRPr lang="es-ES" sz="1400"/>
        </a:p>
      </dgm:t>
    </dgm:pt>
    <dgm:pt modelId="{667639DA-71C5-455A-9008-5314A56CDB3C}" type="sibTrans" cxnId="{62D54BBB-EB7F-46CB-996D-60FB52652FF7}">
      <dgm:prSet custT="1"/>
      <dgm:spPr/>
      <dgm:t>
        <a:bodyPr/>
        <a:lstStyle/>
        <a:p>
          <a:endParaRPr lang="es-ES" sz="1400"/>
        </a:p>
      </dgm:t>
    </dgm:pt>
    <dgm:pt modelId="{0C42A297-7DC0-4A27-805C-A4CC6DFE2611}">
      <dgm:prSet custT="1"/>
      <dgm:spPr/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dirty="0"/>
        </a:p>
      </dgm:t>
    </dgm:pt>
    <dgm:pt modelId="{D0F7AC20-FF72-4C6C-9563-BED22F8ACD70}" type="parTrans" cxnId="{31CF3B28-2FBA-4B5B-99A9-27BFE922308A}">
      <dgm:prSet/>
      <dgm:spPr/>
      <dgm:t>
        <a:bodyPr/>
        <a:lstStyle/>
        <a:p>
          <a:endParaRPr lang="es-ES" sz="1400"/>
        </a:p>
      </dgm:t>
    </dgm:pt>
    <dgm:pt modelId="{DF298EF0-AA71-4A66-BF4C-0A379B9C8B4E}" type="sibTrans" cxnId="{31CF3B28-2FBA-4B5B-99A9-27BFE922308A}">
      <dgm:prSet/>
      <dgm:spPr/>
      <dgm:t>
        <a:bodyPr/>
        <a:lstStyle/>
        <a:p>
          <a:endParaRPr lang="es-ES" sz="1400"/>
        </a:p>
      </dgm:t>
    </dgm:pt>
    <dgm:pt modelId="{00172257-C8E4-49A8-AE30-05BB4D069A48}">
      <dgm:prSet/>
      <dgm:spPr/>
      <dgm:t>
        <a:bodyPr/>
        <a:lstStyle/>
        <a:p>
          <a:endParaRPr lang="es-ES"/>
        </a:p>
      </dgm:t>
    </dgm:pt>
    <dgm:pt modelId="{6E3EADE2-2775-4F78-BF2C-797269BD3816}" type="parTrans" cxnId="{3F65950D-D6AF-4400-AC42-C5181C41CD1B}">
      <dgm:prSet/>
      <dgm:spPr/>
      <dgm:t>
        <a:bodyPr/>
        <a:lstStyle/>
        <a:p>
          <a:endParaRPr lang="es-ES"/>
        </a:p>
      </dgm:t>
    </dgm:pt>
    <dgm:pt modelId="{88041D0F-1F5D-4A6F-B7CC-BE7CC716BFF7}" type="sibTrans" cxnId="{3F65950D-D6AF-4400-AC42-C5181C41CD1B}">
      <dgm:prSet/>
      <dgm:spPr/>
      <dgm:t>
        <a:bodyPr/>
        <a:lstStyle/>
        <a:p>
          <a:endParaRPr lang="es-ES"/>
        </a:p>
      </dgm:t>
    </dgm:pt>
    <dgm:pt modelId="{650DF9FF-3FC8-4186-A33D-19891128BF2E}">
      <dgm:prSet/>
      <dgm:spPr/>
      <dgm:t>
        <a:bodyPr/>
        <a:lstStyle/>
        <a:p>
          <a:endParaRPr lang="es-ES"/>
        </a:p>
      </dgm:t>
    </dgm:pt>
    <dgm:pt modelId="{A6B9094C-732A-49D8-AD7D-C62E46949340}" type="parTrans" cxnId="{38577988-AF3C-4323-992C-195C380A3749}">
      <dgm:prSet/>
      <dgm:spPr/>
      <dgm:t>
        <a:bodyPr/>
        <a:lstStyle/>
        <a:p>
          <a:endParaRPr lang="es-ES"/>
        </a:p>
      </dgm:t>
    </dgm:pt>
    <dgm:pt modelId="{E54ADCDF-49BC-4312-A81E-695541856550}" type="sibTrans" cxnId="{38577988-AF3C-4323-992C-195C380A3749}">
      <dgm:prSet/>
      <dgm:spPr/>
      <dgm:t>
        <a:bodyPr/>
        <a:lstStyle/>
        <a:p>
          <a:endParaRPr lang="es-ES"/>
        </a:p>
      </dgm:t>
    </dgm:pt>
    <dgm:pt modelId="{DE572AD6-2AB5-40EB-B78B-C4AC4116CE56}" type="pres">
      <dgm:prSet presAssocID="{FEAC9662-00A3-48CA-873D-ADE368C3A008}" presName="outerComposite" presStyleCnt="0">
        <dgm:presLayoutVars>
          <dgm:chMax val="5"/>
          <dgm:dir/>
          <dgm:resizeHandles val="exact"/>
        </dgm:presLayoutVars>
      </dgm:prSet>
      <dgm:spPr/>
    </dgm:pt>
    <dgm:pt modelId="{40976963-A581-4AE9-BF2E-BE4DD5A97671}" type="pres">
      <dgm:prSet presAssocID="{FEAC9662-00A3-48CA-873D-ADE368C3A008}" presName="dummyMaxCanvas" presStyleCnt="0">
        <dgm:presLayoutVars/>
      </dgm:prSet>
      <dgm:spPr/>
    </dgm:pt>
    <dgm:pt modelId="{474A7A85-CB11-4BA1-9DB4-251B418F7A59}" type="pres">
      <dgm:prSet presAssocID="{FEAC9662-00A3-48CA-873D-ADE368C3A008}" presName="FiveNodes_1" presStyleLbl="node1" presStyleIdx="0" presStyleCnt="5">
        <dgm:presLayoutVars>
          <dgm:bulletEnabled val="1"/>
        </dgm:presLayoutVars>
      </dgm:prSet>
      <dgm:spPr/>
    </dgm:pt>
    <dgm:pt modelId="{9D419965-07A3-42B7-82EF-9B901EF634E9}" type="pres">
      <dgm:prSet presAssocID="{FEAC9662-00A3-48CA-873D-ADE368C3A008}" presName="FiveNodes_2" presStyleLbl="node1" presStyleIdx="1" presStyleCnt="5">
        <dgm:presLayoutVars>
          <dgm:bulletEnabled val="1"/>
        </dgm:presLayoutVars>
      </dgm:prSet>
      <dgm:spPr/>
    </dgm:pt>
    <dgm:pt modelId="{65C84EB0-2927-43B2-82F6-D7EE816F7F88}" type="pres">
      <dgm:prSet presAssocID="{FEAC9662-00A3-48CA-873D-ADE368C3A008}" presName="FiveNodes_3" presStyleLbl="node1" presStyleIdx="2" presStyleCnt="5">
        <dgm:presLayoutVars>
          <dgm:bulletEnabled val="1"/>
        </dgm:presLayoutVars>
      </dgm:prSet>
      <dgm:spPr/>
    </dgm:pt>
    <dgm:pt modelId="{26B449AB-EAAD-4AF1-854B-F233BD92BFD7}" type="pres">
      <dgm:prSet presAssocID="{FEAC9662-00A3-48CA-873D-ADE368C3A008}" presName="FiveNodes_4" presStyleLbl="node1" presStyleIdx="3" presStyleCnt="5">
        <dgm:presLayoutVars>
          <dgm:bulletEnabled val="1"/>
        </dgm:presLayoutVars>
      </dgm:prSet>
      <dgm:spPr/>
    </dgm:pt>
    <dgm:pt modelId="{E4F69B16-9180-4414-A03C-3E806C14E990}" type="pres">
      <dgm:prSet presAssocID="{FEAC9662-00A3-48CA-873D-ADE368C3A008}" presName="FiveNodes_5" presStyleLbl="node1" presStyleIdx="4" presStyleCnt="5">
        <dgm:presLayoutVars>
          <dgm:bulletEnabled val="1"/>
        </dgm:presLayoutVars>
      </dgm:prSet>
      <dgm:spPr/>
    </dgm:pt>
    <dgm:pt modelId="{2E5486B6-8152-4E64-AF25-F1C5A91EA7A9}" type="pres">
      <dgm:prSet presAssocID="{FEAC9662-00A3-48CA-873D-ADE368C3A008}" presName="FiveConn_1-2" presStyleLbl="fgAccFollowNode1" presStyleIdx="0" presStyleCnt="4">
        <dgm:presLayoutVars>
          <dgm:bulletEnabled val="1"/>
        </dgm:presLayoutVars>
      </dgm:prSet>
      <dgm:spPr/>
    </dgm:pt>
    <dgm:pt modelId="{4B2DDF18-4FF2-4B1E-BAF7-1C631A2B2A53}" type="pres">
      <dgm:prSet presAssocID="{FEAC9662-00A3-48CA-873D-ADE368C3A008}" presName="FiveConn_2-3" presStyleLbl="fgAccFollowNode1" presStyleIdx="1" presStyleCnt="4">
        <dgm:presLayoutVars>
          <dgm:bulletEnabled val="1"/>
        </dgm:presLayoutVars>
      </dgm:prSet>
      <dgm:spPr/>
    </dgm:pt>
    <dgm:pt modelId="{A5DB5D78-FAE0-45A1-B74B-8886E2C616F5}" type="pres">
      <dgm:prSet presAssocID="{FEAC9662-00A3-48CA-873D-ADE368C3A008}" presName="FiveConn_3-4" presStyleLbl="fgAccFollowNode1" presStyleIdx="2" presStyleCnt="4">
        <dgm:presLayoutVars>
          <dgm:bulletEnabled val="1"/>
        </dgm:presLayoutVars>
      </dgm:prSet>
      <dgm:spPr/>
    </dgm:pt>
    <dgm:pt modelId="{1E064091-6FAD-4CFA-89E8-96F885912635}" type="pres">
      <dgm:prSet presAssocID="{FEAC9662-00A3-48CA-873D-ADE368C3A008}" presName="FiveConn_4-5" presStyleLbl="fgAccFollowNode1" presStyleIdx="3" presStyleCnt="4">
        <dgm:presLayoutVars>
          <dgm:bulletEnabled val="1"/>
        </dgm:presLayoutVars>
      </dgm:prSet>
      <dgm:spPr/>
    </dgm:pt>
    <dgm:pt modelId="{B2E5055E-A77E-48B0-8447-4C7F29C6C872}" type="pres">
      <dgm:prSet presAssocID="{FEAC9662-00A3-48CA-873D-ADE368C3A008}" presName="FiveNodes_1_text" presStyleLbl="node1" presStyleIdx="4" presStyleCnt="5">
        <dgm:presLayoutVars>
          <dgm:bulletEnabled val="1"/>
        </dgm:presLayoutVars>
      </dgm:prSet>
      <dgm:spPr/>
    </dgm:pt>
    <dgm:pt modelId="{ADFCABD4-EB5C-43E5-84E6-D5BCB041A65D}" type="pres">
      <dgm:prSet presAssocID="{FEAC9662-00A3-48CA-873D-ADE368C3A008}" presName="FiveNodes_2_text" presStyleLbl="node1" presStyleIdx="4" presStyleCnt="5">
        <dgm:presLayoutVars>
          <dgm:bulletEnabled val="1"/>
        </dgm:presLayoutVars>
      </dgm:prSet>
      <dgm:spPr/>
    </dgm:pt>
    <dgm:pt modelId="{6AA11EA0-1C8B-4763-AD04-DCA711905E61}" type="pres">
      <dgm:prSet presAssocID="{FEAC9662-00A3-48CA-873D-ADE368C3A008}" presName="FiveNodes_3_text" presStyleLbl="node1" presStyleIdx="4" presStyleCnt="5">
        <dgm:presLayoutVars>
          <dgm:bulletEnabled val="1"/>
        </dgm:presLayoutVars>
      </dgm:prSet>
      <dgm:spPr/>
    </dgm:pt>
    <dgm:pt modelId="{D662F6EE-9765-446E-B2F9-453764E73004}" type="pres">
      <dgm:prSet presAssocID="{FEAC9662-00A3-48CA-873D-ADE368C3A008}" presName="FiveNodes_4_text" presStyleLbl="node1" presStyleIdx="4" presStyleCnt="5">
        <dgm:presLayoutVars>
          <dgm:bulletEnabled val="1"/>
        </dgm:presLayoutVars>
      </dgm:prSet>
      <dgm:spPr/>
    </dgm:pt>
    <dgm:pt modelId="{2CCF5CF7-3701-4BDA-B9BE-C27AB5B3A592}" type="pres">
      <dgm:prSet presAssocID="{FEAC9662-00A3-48CA-873D-ADE368C3A008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3F65950D-D6AF-4400-AC42-C5181C41CD1B}" srcId="{FEAC9662-00A3-48CA-873D-ADE368C3A008}" destId="{00172257-C8E4-49A8-AE30-05BB4D069A48}" srcOrd="1" destOrd="0" parTransId="{6E3EADE2-2775-4F78-BF2C-797269BD3816}" sibTransId="{88041D0F-1F5D-4A6F-B7CC-BE7CC716BFF7}"/>
    <dgm:cxn modelId="{FD964612-AE3B-448E-A065-A8C72391F328}" type="presOf" srcId="{0C42A297-7DC0-4A27-805C-A4CC6DFE2611}" destId="{2CCF5CF7-3701-4BDA-B9BE-C27AB5B3A592}" srcOrd="1" destOrd="0" presId="urn:microsoft.com/office/officeart/2005/8/layout/vProcess5"/>
    <dgm:cxn modelId="{E80D2114-E492-4E1E-AECE-E069FC464237}" type="presOf" srcId="{650DF9FF-3FC8-4186-A33D-19891128BF2E}" destId="{65C84EB0-2927-43B2-82F6-D7EE816F7F88}" srcOrd="0" destOrd="0" presId="urn:microsoft.com/office/officeart/2005/8/layout/vProcess5"/>
    <dgm:cxn modelId="{31CF3B28-2FBA-4B5B-99A9-27BFE922308A}" srcId="{FEAC9662-00A3-48CA-873D-ADE368C3A008}" destId="{0C42A297-7DC0-4A27-805C-A4CC6DFE2611}" srcOrd="4" destOrd="0" parTransId="{D0F7AC20-FF72-4C6C-9563-BED22F8ACD70}" sibTransId="{DF298EF0-AA71-4A66-BF4C-0A379B9C8B4E}"/>
    <dgm:cxn modelId="{6701C82F-2D7E-46F6-B48E-62CE8ECC6C3E}" type="presOf" srcId="{88041D0F-1F5D-4A6F-B7CC-BE7CC716BFF7}" destId="{4B2DDF18-4FF2-4B1E-BAF7-1C631A2B2A53}" srcOrd="0" destOrd="0" presId="urn:microsoft.com/office/officeart/2005/8/layout/vProcess5"/>
    <dgm:cxn modelId="{C9755A3D-C1FD-4B21-8786-A27B49751DF3}" type="presOf" srcId="{D5CFA931-D354-4F9A-82FF-00826DD85B97}" destId="{B2E5055E-A77E-48B0-8447-4C7F29C6C872}" srcOrd="1" destOrd="0" presId="urn:microsoft.com/office/officeart/2005/8/layout/vProcess5"/>
    <dgm:cxn modelId="{4F7F1E3E-12A1-45D8-B49C-189D57B023A0}" type="presOf" srcId="{AC90DC2D-BCD4-4FF3-BB0F-8ED358BF9725}" destId="{26B449AB-EAAD-4AF1-854B-F233BD92BFD7}" srcOrd="0" destOrd="0" presId="urn:microsoft.com/office/officeart/2005/8/layout/vProcess5"/>
    <dgm:cxn modelId="{5F91FD5C-62F2-4598-AF19-E02E941427E1}" srcId="{FEAC9662-00A3-48CA-873D-ADE368C3A008}" destId="{D5CFA931-D354-4F9A-82FF-00826DD85B97}" srcOrd="0" destOrd="0" parTransId="{96C3A4E6-4DC3-4570-B8EF-72F6FFA0127D}" sibTransId="{7C05678B-E47F-41A3-9FC5-EA8126AA96FB}"/>
    <dgm:cxn modelId="{54477643-3C50-4D42-A2AE-4E0137BA62A6}" type="presOf" srcId="{650DF9FF-3FC8-4186-A33D-19891128BF2E}" destId="{6AA11EA0-1C8B-4763-AD04-DCA711905E61}" srcOrd="1" destOrd="0" presId="urn:microsoft.com/office/officeart/2005/8/layout/vProcess5"/>
    <dgm:cxn modelId="{F7AF2F56-1F6C-490D-895A-944AAD264710}" type="presOf" srcId="{AC90DC2D-BCD4-4FF3-BB0F-8ED358BF9725}" destId="{D662F6EE-9765-446E-B2F9-453764E73004}" srcOrd="1" destOrd="0" presId="urn:microsoft.com/office/officeart/2005/8/layout/vProcess5"/>
    <dgm:cxn modelId="{56E2A277-B3F1-417B-818D-DB1DD3DB4F67}" type="presOf" srcId="{00172257-C8E4-49A8-AE30-05BB4D069A48}" destId="{ADFCABD4-EB5C-43E5-84E6-D5BCB041A65D}" srcOrd="1" destOrd="0" presId="urn:microsoft.com/office/officeart/2005/8/layout/vProcess5"/>
    <dgm:cxn modelId="{10DF3885-F235-4E58-A52F-C9892CEEFE60}" type="presOf" srcId="{E54ADCDF-49BC-4312-A81E-695541856550}" destId="{A5DB5D78-FAE0-45A1-B74B-8886E2C616F5}" srcOrd="0" destOrd="0" presId="urn:microsoft.com/office/officeart/2005/8/layout/vProcess5"/>
    <dgm:cxn modelId="{38577988-AF3C-4323-992C-195C380A3749}" srcId="{FEAC9662-00A3-48CA-873D-ADE368C3A008}" destId="{650DF9FF-3FC8-4186-A33D-19891128BF2E}" srcOrd="2" destOrd="0" parTransId="{A6B9094C-732A-49D8-AD7D-C62E46949340}" sibTransId="{E54ADCDF-49BC-4312-A81E-695541856550}"/>
    <dgm:cxn modelId="{B959E68C-A109-47FB-92ED-ECE476CCC420}" type="presOf" srcId="{667639DA-71C5-455A-9008-5314A56CDB3C}" destId="{1E064091-6FAD-4CFA-89E8-96F885912635}" srcOrd="0" destOrd="0" presId="urn:microsoft.com/office/officeart/2005/8/layout/vProcess5"/>
    <dgm:cxn modelId="{1BB37092-6968-4790-8BE2-D56B6813FB22}" type="presOf" srcId="{D5CFA931-D354-4F9A-82FF-00826DD85B97}" destId="{474A7A85-CB11-4BA1-9DB4-251B418F7A59}" srcOrd="0" destOrd="0" presId="urn:microsoft.com/office/officeart/2005/8/layout/vProcess5"/>
    <dgm:cxn modelId="{2ED5FBAC-077D-4568-96AA-F2D64C4A6ED8}" type="presOf" srcId="{FEAC9662-00A3-48CA-873D-ADE368C3A008}" destId="{DE572AD6-2AB5-40EB-B78B-C4AC4116CE56}" srcOrd="0" destOrd="0" presId="urn:microsoft.com/office/officeart/2005/8/layout/vProcess5"/>
    <dgm:cxn modelId="{62D54BBB-EB7F-46CB-996D-60FB52652FF7}" srcId="{FEAC9662-00A3-48CA-873D-ADE368C3A008}" destId="{AC90DC2D-BCD4-4FF3-BB0F-8ED358BF9725}" srcOrd="3" destOrd="0" parTransId="{D123DEED-D7F5-4855-8B6C-6DD49373BD88}" sibTransId="{667639DA-71C5-455A-9008-5314A56CDB3C}"/>
    <dgm:cxn modelId="{198916DE-8C70-4BAD-AB1B-31EFEC2B0B6B}" type="presOf" srcId="{00172257-C8E4-49A8-AE30-05BB4D069A48}" destId="{9D419965-07A3-42B7-82EF-9B901EF634E9}" srcOrd="0" destOrd="0" presId="urn:microsoft.com/office/officeart/2005/8/layout/vProcess5"/>
    <dgm:cxn modelId="{A5EB8EDF-1F64-4429-8D40-9D6E261F7F65}" type="presOf" srcId="{0C42A297-7DC0-4A27-805C-A4CC6DFE2611}" destId="{E4F69B16-9180-4414-A03C-3E806C14E990}" srcOrd="0" destOrd="0" presId="urn:microsoft.com/office/officeart/2005/8/layout/vProcess5"/>
    <dgm:cxn modelId="{23746EF8-68BF-4DD7-920F-85B446732834}" type="presOf" srcId="{7C05678B-E47F-41A3-9FC5-EA8126AA96FB}" destId="{2E5486B6-8152-4E64-AF25-F1C5A91EA7A9}" srcOrd="0" destOrd="0" presId="urn:microsoft.com/office/officeart/2005/8/layout/vProcess5"/>
    <dgm:cxn modelId="{B8D9F2D5-FFE2-4098-84AE-BCCB3432D99F}" type="presParOf" srcId="{DE572AD6-2AB5-40EB-B78B-C4AC4116CE56}" destId="{40976963-A581-4AE9-BF2E-BE4DD5A97671}" srcOrd="0" destOrd="0" presId="urn:microsoft.com/office/officeart/2005/8/layout/vProcess5"/>
    <dgm:cxn modelId="{B4C2F129-36A8-48CE-9BD5-F8CE508E5B11}" type="presParOf" srcId="{DE572AD6-2AB5-40EB-B78B-C4AC4116CE56}" destId="{474A7A85-CB11-4BA1-9DB4-251B418F7A59}" srcOrd="1" destOrd="0" presId="urn:microsoft.com/office/officeart/2005/8/layout/vProcess5"/>
    <dgm:cxn modelId="{9977572F-783B-49FF-9C8F-A46FADFEEE46}" type="presParOf" srcId="{DE572AD6-2AB5-40EB-B78B-C4AC4116CE56}" destId="{9D419965-07A3-42B7-82EF-9B901EF634E9}" srcOrd="2" destOrd="0" presId="urn:microsoft.com/office/officeart/2005/8/layout/vProcess5"/>
    <dgm:cxn modelId="{FADD000F-2F49-4302-91C0-6F905521712E}" type="presParOf" srcId="{DE572AD6-2AB5-40EB-B78B-C4AC4116CE56}" destId="{65C84EB0-2927-43B2-82F6-D7EE816F7F88}" srcOrd="3" destOrd="0" presId="urn:microsoft.com/office/officeart/2005/8/layout/vProcess5"/>
    <dgm:cxn modelId="{F5B8E79D-D4AE-454A-B961-6E9A02B34689}" type="presParOf" srcId="{DE572AD6-2AB5-40EB-B78B-C4AC4116CE56}" destId="{26B449AB-EAAD-4AF1-854B-F233BD92BFD7}" srcOrd="4" destOrd="0" presId="urn:microsoft.com/office/officeart/2005/8/layout/vProcess5"/>
    <dgm:cxn modelId="{9D689149-07D4-43C4-82A5-DF7081D461E5}" type="presParOf" srcId="{DE572AD6-2AB5-40EB-B78B-C4AC4116CE56}" destId="{E4F69B16-9180-4414-A03C-3E806C14E990}" srcOrd="5" destOrd="0" presId="urn:microsoft.com/office/officeart/2005/8/layout/vProcess5"/>
    <dgm:cxn modelId="{75880445-9153-41F4-A28B-F6898B087FC9}" type="presParOf" srcId="{DE572AD6-2AB5-40EB-B78B-C4AC4116CE56}" destId="{2E5486B6-8152-4E64-AF25-F1C5A91EA7A9}" srcOrd="6" destOrd="0" presId="urn:microsoft.com/office/officeart/2005/8/layout/vProcess5"/>
    <dgm:cxn modelId="{ECBD112A-9B38-4266-9100-DC6FF7DB1487}" type="presParOf" srcId="{DE572AD6-2AB5-40EB-B78B-C4AC4116CE56}" destId="{4B2DDF18-4FF2-4B1E-BAF7-1C631A2B2A53}" srcOrd="7" destOrd="0" presId="urn:microsoft.com/office/officeart/2005/8/layout/vProcess5"/>
    <dgm:cxn modelId="{BCDF906E-7ABC-434B-9403-D07EF4753AA2}" type="presParOf" srcId="{DE572AD6-2AB5-40EB-B78B-C4AC4116CE56}" destId="{A5DB5D78-FAE0-45A1-B74B-8886E2C616F5}" srcOrd="8" destOrd="0" presId="urn:microsoft.com/office/officeart/2005/8/layout/vProcess5"/>
    <dgm:cxn modelId="{85593E0F-4DFB-49DC-AA50-E9EB2FFD745D}" type="presParOf" srcId="{DE572AD6-2AB5-40EB-B78B-C4AC4116CE56}" destId="{1E064091-6FAD-4CFA-89E8-96F885912635}" srcOrd="9" destOrd="0" presId="urn:microsoft.com/office/officeart/2005/8/layout/vProcess5"/>
    <dgm:cxn modelId="{F12BDF6A-1401-4CA5-B6B1-61DE44C46B73}" type="presParOf" srcId="{DE572AD6-2AB5-40EB-B78B-C4AC4116CE56}" destId="{B2E5055E-A77E-48B0-8447-4C7F29C6C872}" srcOrd="10" destOrd="0" presId="urn:microsoft.com/office/officeart/2005/8/layout/vProcess5"/>
    <dgm:cxn modelId="{A6D0F2ED-9746-4DA3-B66B-1F21568F1842}" type="presParOf" srcId="{DE572AD6-2AB5-40EB-B78B-C4AC4116CE56}" destId="{ADFCABD4-EB5C-43E5-84E6-D5BCB041A65D}" srcOrd="11" destOrd="0" presId="urn:microsoft.com/office/officeart/2005/8/layout/vProcess5"/>
    <dgm:cxn modelId="{FDBE73F3-543E-457F-9A98-68FB31189122}" type="presParOf" srcId="{DE572AD6-2AB5-40EB-B78B-C4AC4116CE56}" destId="{6AA11EA0-1C8B-4763-AD04-DCA711905E61}" srcOrd="12" destOrd="0" presId="urn:microsoft.com/office/officeart/2005/8/layout/vProcess5"/>
    <dgm:cxn modelId="{1C4D1BF8-4628-4030-8EE9-10D0AA037D87}" type="presParOf" srcId="{DE572AD6-2AB5-40EB-B78B-C4AC4116CE56}" destId="{D662F6EE-9765-446E-B2F9-453764E73004}" srcOrd="13" destOrd="0" presId="urn:microsoft.com/office/officeart/2005/8/layout/vProcess5"/>
    <dgm:cxn modelId="{BC831CB5-48F2-4EDB-962A-8D03D0ECCF75}" type="presParOf" srcId="{DE572AD6-2AB5-40EB-B78B-C4AC4116CE56}" destId="{2CCF5CF7-3701-4BDA-B9BE-C27AB5B3A592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EAC9662-00A3-48CA-873D-ADE368C3A008}" type="doc">
      <dgm:prSet loTypeId="urn:microsoft.com/office/officeart/2005/8/layout/v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D5CFA931-D354-4F9A-82FF-00826DD85B97}">
      <dgm:prSet phldrT="[Texto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dirty="0"/>
        </a:p>
      </dgm:t>
    </dgm:pt>
    <dgm:pt modelId="{96C3A4E6-4DC3-4570-B8EF-72F6FFA0127D}" type="parTrans" cxnId="{5F91FD5C-62F2-4598-AF19-E02E941427E1}">
      <dgm:prSet/>
      <dgm:spPr/>
      <dgm:t>
        <a:bodyPr/>
        <a:lstStyle/>
        <a:p>
          <a:endParaRPr lang="es-ES" sz="1400"/>
        </a:p>
      </dgm:t>
    </dgm:pt>
    <dgm:pt modelId="{7C05678B-E47F-41A3-9FC5-EA8126AA96FB}" type="sibTrans" cxnId="{5F91FD5C-62F2-4598-AF19-E02E941427E1}">
      <dgm:prSet custT="1"/>
      <dgm:spPr/>
      <dgm:t>
        <a:bodyPr/>
        <a:lstStyle/>
        <a:p>
          <a:endParaRPr lang="es-ES" sz="1400"/>
        </a:p>
      </dgm:t>
    </dgm:pt>
    <dgm:pt modelId="{AC90DC2D-BCD4-4FF3-BB0F-8ED358BF9725}">
      <dgm:prSet phldrT="[Texto]" custT="1"/>
      <dgm:spPr/>
      <dgm:t>
        <a:bodyPr anchor="t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dirty="0"/>
        </a:p>
      </dgm:t>
    </dgm:pt>
    <dgm:pt modelId="{D123DEED-D7F5-4855-8B6C-6DD49373BD88}" type="parTrans" cxnId="{62D54BBB-EB7F-46CB-996D-60FB52652FF7}">
      <dgm:prSet/>
      <dgm:spPr/>
      <dgm:t>
        <a:bodyPr/>
        <a:lstStyle/>
        <a:p>
          <a:endParaRPr lang="es-ES" sz="1400"/>
        </a:p>
      </dgm:t>
    </dgm:pt>
    <dgm:pt modelId="{667639DA-71C5-455A-9008-5314A56CDB3C}" type="sibTrans" cxnId="{62D54BBB-EB7F-46CB-996D-60FB52652FF7}">
      <dgm:prSet custT="1"/>
      <dgm:spPr/>
      <dgm:t>
        <a:bodyPr/>
        <a:lstStyle/>
        <a:p>
          <a:endParaRPr lang="es-ES" sz="1400"/>
        </a:p>
      </dgm:t>
    </dgm:pt>
    <dgm:pt modelId="{0C42A297-7DC0-4A27-805C-A4CC6DFE2611}">
      <dgm:prSet custT="1"/>
      <dgm:spPr/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dirty="0"/>
        </a:p>
      </dgm:t>
    </dgm:pt>
    <dgm:pt modelId="{D0F7AC20-FF72-4C6C-9563-BED22F8ACD70}" type="parTrans" cxnId="{31CF3B28-2FBA-4B5B-99A9-27BFE922308A}">
      <dgm:prSet/>
      <dgm:spPr/>
      <dgm:t>
        <a:bodyPr/>
        <a:lstStyle/>
        <a:p>
          <a:endParaRPr lang="es-ES" sz="1400"/>
        </a:p>
      </dgm:t>
    </dgm:pt>
    <dgm:pt modelId="{DF298EF0-AA71-4A66-BF4C-0A379B9C8B4E}" type="sibTrans" cxnId="{31CF3B28-2FBA-4B5B-99A9-27BFE922308A}">
      <dgm:prSet/>
      <dgm:spPr/>
      <dgm:t>
        <a:bodyPr/>
        <a:lstStyle/>
        <a:p>
          <a:endParaRPr lang="es-ES" sz="1400"/>
        </a:p>
      </dgm:t>
    </dgm:pt>
    <dgm:pt modelId="{DE572AD6-2AB5-40EB-B78B-C4AC4116CE56}" type="pres">
      <dgm:prSet presAssocID="{FEAC9662-00A3-48CA-873D-ADE368C3A008}" presName="outerComposite" presStyleCnt="0">
        <dgm:presLayoutVars>
          <dgm:chMax val="5"/>
          <dgm:dir/>
          <dgm:resizeHandles val="exact"/>
        </dgm:presLayoutVars>
      </dgm:prSet>
      <dgm:spPr/>
    </dgm:pt>
    <dgm:pt modelId="{40976963-A581-4AE9-BF2E-BE4DD5A97671}" type="pres">
      <dgm:prSet presAssocID="{FEAC9662-00A3-48CA-873D-ADE368C3A008}" presName="dummyMaxCanvas" presStyleCnt="0">
        <dgm:presLayoutVars/>
      </dgm:prSet>
      <dgm:spPr/>
    </dgm:pt>
    <dgm:pt modelId="{2B1991C8-7456-49CA-BEFB-C742C5A68050}" type="pres">
      <dgm:prSet presAssocID="{FEAC9662-00A3-48CA-873D-ADE368C3A008}" presName="ThreeNodes_1" presStyleLbl="node1" presStyleIdx="0" presStyleCnt="3" custScaleX="94735" custScaleY="47118">
        <dgm:presLayoutVars>
          <dgm:bulletEnabled val="1"/>
        </dgm:presLayoutVars>
      </dgm:prSet>
      <dgm:spPr/>
    </dgm:pt>
    <dgm:pt modelId="{84A6D045-88AA-4B0C-8652-6B8CFFA8F9B5}" type="pres">
      <dgm:prSet presAssocID="{FEAC9662-00A3-48CA-873D-ADE368C3A008}" presName="ThreeNodes_2" presStyleLbl="node1" presStyleIdx="1" presStyleCnt="3" custScaleY="65479" custLinFactNeighborX="-648" custLinFactNeighborY="-28735">
        <dgm:presLayoutVars>
          <dgm:bulletEnabled val="1"/>
        </dgm:presLayoutVars>
      </dgm:prSet>
      <dgm:spPr/>
    </dgm:pt>
    <dgm:pt modelId="{BA9F8325-AAB7-4547-B5C8-93629632EB23}" type="pres">
      <dgm:prSet presAssocID="{FEAC9662-00A3-48CA-873D-ADE368C3A008}" presName="ThreeNodes_3" presStyleLbl="node1" presStyleIdx="2" presStyleCnt="3" custScaleX="101086" custScaleY="50789" custLinFactNeighborX="-741" custLinFactNeighborY="-60002">
        <dgm:presLayoutVars>
          <dgm:bulletEnabled val="1"/>
        </dgm:presLayoutVars>
      </dgm:prSet>
      <dgm:spPr/>
    </dgm:pt>
    <dgm:pt modelId="{5E06D0ED-8415-45CB-B0DE-7CCA883CE8A8}" type="pres">
      <dgm:prSet presAssocID="{FEAC9662-00A3-48CA-873D-ADE368C3A008}" presName="ThreeConn_1-2" presStyleLbl="fgAccFollowNode1" presStyleIdx="0" presStyleCnt="2" custLinFactNeighborX="133" custLinFactNeighborY="-37146">
        <dgm:presLayoutVars>
          <dgm:bulletEnabled val="1"/>
        </dgm:presLayoutVars>
      </dgm:prSet>
      <dgm:spPr/>
    </dgm:pt>
    <dgm:pt modelId="{CCC45063-63D6-42E4-9946-AC3939217548}" type="pres">
      <dgm:prSet presAssocID="{FEAC9662-00A3-48CA-873D-ADE368C3A008}" presName="ThreeConn_2-3" presStyleLbl="fgAccFollowNode1" presStyleIdx="1" presStyleCnt="2" custLinFactNeighborY="-60088">
        <dgm:presLayoutVars>
          <dgm:bulletEnabled val="1"/>
        </dgm:presLayoutVars>
      </dgm:prSet>
      <dgm:spPr/>
    </dgm:pt>
    <dgm:pt modelId="{298276F9-7D65-4174-99DB-01ECF9CF31B2}" type="pres">
      <dgm:prSet presAssocID="{FEAC9662-00A3-48CA-873D-ADE368C3A008}" presName="ThreeNodes_1_text" presStyleLbl="node1" presStyleIdx="2" presStyleCnt="3">
        <dgm:presLayoutVars>
          <dgm:bulletEnabled val="1"/>
        </dgm:presLayoutVars>
      </dgm:prSet>
      <dgm:spPr/>
    </dgm:pt>
    <dgm:pt modelId="{B55966E9-43EB-4C46-A7DC-460A3F893B0E}" type="pres">
      <dgm:prSet presAssocID="{FEAC9662-00A3-48CA-873D-ADE368C3A008}" presName="ThreeNodes_2_text" presStyleLbl="node1" presStyleIdx="2" presStyleCnt="3">
        <dgm:presLayoutVars>
          <dgm:bulletEnabled val="1"/>
        </dgm:presLayoutVars>
      </dgm:prSet>
      <dgm:spPr/>
    </dgm:pt>
    <dgm:pt modelId="{70811929-FAD8-4DA9-845D-9C12978DAB4F}" type="pres">
      <dgm:prSet presAssocID="{FEAC9662-00A3-48CA-873D-ADE368C3A008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38B86627-E583-4FAB-A8C4-365C04A03ED0}" type="presOf" srcId="{AC90DC2D-BCD4-4FF3-BB0F-8ED358BF9725}" destId="{84A6D045-88AA-4B0C-8652-6B8CFFA8F9B5}" srcOrd="0" destOrd="0" presId="urn:microsoft.com/office/officeart/2005/8/layout/vProcess5"/>
    <dgm:cxn modelId="{31CF3B28-2FBA-4B5B-99A9-27BFE922308A}" srcId="{FEAC9662-00A3-48CA-873D-ADE368C3A008}" destId="{0C42A297-7DC0-4A27-805C-A4CC6DFE2611}" srcOrd="2" destOrd="0" parTransId="{D0F7AC20-FF72-4C6C-9563-BED22F8ACD70}" sibTransId="{DF298EF0-AA71-4A66-BF4C-0A379B9C8B4E}"/>
    <dgm:cxn modelId="{EE19A532-2D50-4433-9E4F-C8F15ACD8FEE}" type="presOf" srcId="{D5CFA931-D354-4F9A-82FF-00826DD85B97}" destId="{2B1991C8-7456-49CA-BEFB-C742C5A68050}" srcOrd="0" destOrd="0" presId="urn:microsoft.com/office/officeart/2005/8/layout/vProcess5"/>
    <dgm:cxn modelId="{7EBDB639-DD69-4035-9797-7BD110D1BE01}" type="presOf" srcId="{667639DA-71C5-455A-9008-5314A56CDB3C}" destId="{CCC45063-63D6-42E4-9946-AC3939217548}" srcOrd="0" destOrd="0" presId="urn:microsoft.com/office/officeart/2005/8/layout/vProcess5"/>
    <dgm:cxn modelId="{5F91FD5C-62F2-4598-AF19-E02E941427E1}" srcId="{FEAC9662-00A3-48CA-873D-ADE368C3A008}" destId="{D5CFA931-D354-4F9A-82FF-00826DD85B97}" srcOrd="0" destOrd="0" parTransId="{96C3A4E6-4DC3-4570-B8EF-72F6FFA0127D}" sibTransId="{7C05678B-E47F-41A3-9FC5-EA8126AA96FB}"/>
    <dgm:cxn modelId="{B98ECC66-C590-49E5-8205-CC5158F4C748}" type="presOf" srcId="{0C42A297-7DC0-4A27-805C-A4CC6DFE2611}" destId="{70811929-FAD8-4DA9-845D-9C12978DAB4F}" srcOrd="1" destOrd="0" presId="urn:microsoft.com/office/officeart/2005/8/layout/vProcess5"/>
    <dgm:cxn modelId="{677CB968-1D3D-4D55-84E2-B934F7F7B428}" type="presOf" srcId="{7C05678B-E47F-41A3-9FC5-EA8126AA96FB}" destId="{5E06D0ED-8415-45CB-B0DE-7CCA883CE8A8}" srcOrd="0" destOrd="0" presId="urn:microsoft.com/office/officeart/2005/8/layout/vProcess5"/>
    <dgm:cxn modelId="{8E3D7173-1BA6-4328-A434-42378F38B9AC}" type="presOf" srcId="{D5CFA931-D354-4F9A-82FF-00826DD85B97}" destId="{298276F9-7D65-4174-99DB-01ECF9CF31B2}" srcOrd="1" destOrd="0" presId="urn:microsoft.com/office/officeart/2005/8/layout/vProcess5"/>
    <dgm:cxn modelId="{09D6728F-3EC5-45E8-AE30-FAF952158A97}" type="presOf" srcId="{AC90DC2D-BCD4-4FF3-BB0F-8ED358BF9725}" destId="{B55966E9-43EB-4C46-A7DC-460A3F893B0E}" srcOrd="1" destOrd="0" presId="urn:microsoft.com/office/officeart/2005/8/layout/vProcess5"/>
    <dgm:cxn modelId="{2ED5FBAC-077D-4568-96AA-F2D64C4A6ED8}" type="presOf" srcId="{FEAC9662-00A3-48CA-873D-ADE368C3A008}" destId="{DE572AD6-2AB5-40EB-B78B-C4AC4116CE56}" srcOrd="0" destOrd="0" presId="urn:microsoft.com/office/officeart/2005/8/layout/vProcess5"/>
    <dgm:cxn modelId="{62D54BBB-EB7F-46CB-996D-60FB52652FF7}" srcId="{FEAC9662-00A3-48CA-873D-ADE368C3A008}" destId="{AC90DC2D-BCD4-4FF3-BB0F-8ED358BF9725}" srcOrd="1" destOrd="0" parTransId="{D123DEED-D7F5-4855-8B6C-6DD49373BD88}" sibTransId="{667639DA-71C5-455A-9008-5314A56CDB3C}"/>
    <dgm:cxn modelId="{A29328C9-DDA5-4C42-8FAE-F6E8356B1CD1}" type="presOf" srcId="{0C42A297-7DC0-4A27-805C-A4CC6DFE2611}" destId="{BA9F8325-AAB7-4547-B5C8-93629632EB23}" srcOrd="0" destOrd="0" presId="urn:microsoft.com/office/officeart/2005/8/layout/vProcess5"/>
    <dgm:cxn modelId="{B8D9F2D5-FFE2-4098-84AE-BCCB3432D99F}" type="presParOf" srcId="{DE572AD6-2AB5-40EB-B78B-C4AC4116CE56}" destId="{40976963-A581-4AE9-BF2E-BE4DD5A97671}" srcOrd="0" destOrd="0" presId="urn:microsoft.com/office/officeart/2005/8/layout/vProcess5"/>
    <dgm:cxn modelId="{322BC721-F4F7-47CE-AA38-D55E0140200F}" type="presParOf" srcId="{DE572AD6-2AB5-40EB-B78B-C4AC4116CE56}" destId="{2B1991C8-7456-49CA-BEFB-C742C5A68050}" srcOrd="1" destOrd="0" presId="urn:microsoft.com/office/officeart/2005/8/layout/vProcess5"/>
    <dgm:cxn modelId="{AD9193D6-35D5-4938-B0F6-C9D5098CD57D}" type="presParOf" srcId="{DE572AD6-2AB5-40EB-B78B-C4AC4116CE56}" destId="{84A6D045-88AA-4B0C-8652-6B8CFFA8F9B5}" srcOrd="2" destOrd="0" presId="urn:microsoft.com/office/officeart/2005/8/layout/vProcess5"/>
    <dgm:cxn modelId="{BBF3279D-45B9-48BF-8EDB-C7CCB2442E4B}" type="presParOf" srcId="{DE572AD6-2AB5-40EB-B78B-C4AC4116CE56}" destId="{BA9F8325-AAB7-4547-B5C8-93629632EB23}" srcOrd="3" destOrd="0" presId="urn:microsoft.com/office/officeart/2005/8/layout/vProcess5"/>
    <dgm:cxn modelId="{4746DBC5-E772-4184-BF27-7164EF4F3FA6}" type="presParOf" srcId="{DE572AD6-2AB5-40EB-B78B-C4AC4116CE56}" destId="{5E06D0ED-8415-45CB-B0DE-7CCA883CE8A8}" srcOrd="4" destOrd="0" presId="urn:microsoft.com/office/officeart/2005/8/layout/vProcess5"/>
    <dgm:cxn modelId="{9AAAF21E-9F5B-4644-A512-12CA0B1C8016}" type="presParOf" srcId="{DE572AD6-2AB5-40EB-B78B-C4AC4116CE56}" destId="{CCC45063-63D6-42E4-9946-AC3939217548}" srcOrd="5" destOrd="0" presId="urn:microsoft.com/office/officeart/2005/8/layout/vProcess5"/>
    <dgm:cxn modelId="{FFAAD77B-C94A-48E4-9557-1C6BE7C43048}" type="presParOf" srcId="{DE572AD6-2AB5-40EB-B78B-C4AC4116CE56}" destId="{298276F9-7D65-4174-99DB-01ECF9CF31B2}" srcOrd="6" destOrd="0" presId="urn:microsoft.com/office/officeart/2005/8/layout/vProcess5"/>
    <dgm:cxn modelId="{D16889A1-CDD4-4C01-9BF8-8D8583D952D4}" type="presParOf" srcId="{DE572AD6-2AB5-40EB-B78B-C4AC4116CE56}" destId="{B55966E9-43EB-4C46-A7DC-460A3F893B0E}" srcOrd="7" destOrd="0" presId="urn:microsoft.com/office/officeart/2005/8/layout/vProcess5"/>
    <dgm:cxn modelId="{F200A006-DE33-4F28-9662-549F0F6AC99E}" type="presParOf" srcId="{DE572AD6-2AB5-40EB-B78B-C4AC4116CE56}" destId="{70811929-FAD8-4DA9-845D-9C12978DAB4F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DAB6B1-BA60-4028-AF1F-3884812B98F8}">
      <dsp:nvSpPr>
        <dsp:cNvPr id="0" name=""/>
        <dsp:cNvSpPr/>
      </dsp:nvSpPr>
      <dsp:spPr>
        <a:xfrm>
          <a:off x="0" y="0"/>
          <a:ext cx="7786217" cy="128463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3400" kern="1200" dirty="0"/>
            <a:t>1. Identificar correctamente los pacientes de RCV alto/muy alto</a:t>
          </a:r>
          <a:endParaRPr lang="es-ES" sz="3400" kern="1200" dirty="0"/>
        </a:p>
      </dsp:txBody>
      <dsp:txXfrm>
        <a:off x="37626" y="37626"/>
        <a:ext cx="6400000" cy="1209378"/>
      </dsp:txXfrm>
    </dsp:sp>
    <dsp:sp modelId="{5E0A4F47-C5D6-46B4-AC9E-5EFC62D0C3E5}">
      <dsp:nvSpPr>
        <dsp:cNvPr id="0" name=""/>
        <dsp:cNvSpPr/>
      </dsp:nvSpPr>
      <dsp:spPr>
        <a:xfrm>
          <a:off x="687019" y="1498735"/>
          <a:ext cx="7786217" cy="1284630"/>
        </a:xfrm>
        <a:prstGeom prst="roundRect">
          <a:avLst>
            <a:gd name="adj" fmla="val 10000"/>
          </a:avLst>
        </a:prstGeom>
        <a:solidFill>
          <a:schemeClr val="accent4">
            <a:hueOff val="-369933"/>
            <a:satOff val="0"/>
            <a:lumOff val="421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3400" kern="1200" dirty="0"/>
            <a:t>2. Evitar la inercia terapéutica</a:t>
          </a:r>
          <a:endParaRPr lang="es-ES" sz="3400" kern="1200" dirty="0"/>
        </a:p>
      </dsp:txBody>
      <dsp:txXfrm>
        <a:off x="724645" y="1536361"/>
        <a:ext cx="6188936" cy="1209378"/>
      </dsp:txXfrm>
    </dsp:sp>
    <dsp:sp modelId="{F914AA3D-AD83-47D5-86FE-3FD07F7D3E89}">
      <dsp:nvSpPr>
        <dsp:cNvPr id="0" name=""/>
        <dsp:cNvSpPr/>
      </dsp:nvSpPr>
      <dsp:spPr>
        <a:xfrm>
          <a:off x="1374038" y="2997470"/>
          <a:ext cx="7786217" cy="1284630"/>
        </a:xfrm>
        <a:prstGeom prst="roundRect">
          <a:avLst>
            <a:gd name="adj" fmla="val 10000"/>
          </a:avLst>
        </a:prstGeom>
        <a:solidFill>
          <a:schemeClr val="accent4">
            <a:hueOff val="-739866"/>
            <a:satOff val="0"/>
            <a:lumOff val="843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3400" kern="1200" dirty="0"/>
            <a:t>3. Ayudar a mejorar la adherencia de los pacientes</a:t>
          </a:r>
          <a:endParaRPr lang="es-ES" sz="3400" kern="1200" dirty="0"/>
        </a:p>
      </dsp:txBody>
      <dsp:txXfrm>
        <a:off x="1411664" y="3035096"/>
        <a:ext cx="6188936" cy="1209378"/>
      </dsp:txXfrm>
    </dsp:sp>
    <dsp:sp modelId="{5EC40B86-9C8D-4875-902B-31B73AD0B815}">
      <dsp:nvSpPr>
        <dsp:cNvPr id="0" name=""/>
        <dsp:cNvSpPr/>
      </dsp:nvSpPr>
      <dsp:spPr>
        <a:xfrm>
          <a:off x="6951207" y="974177"/>
          <a:ext cx="835009" cy="835009"/>
        </a:xfrm>
        <a:prstGeom prst="downArrow">
          <a:avLst>
            <a:gd name="adj1" fmla="val 55000"/>
            <a:gd name="adj2" fmla="val 45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3600" kern="1200"/>
        </a:p>
      </dsp:txBody>
      <dsp:txXfrm>
        <a:off x="7139084" y="974177"/>
        <a:ext cx="459255" cy="628344"/>
      </dsp:txXfrm>
    </dsp:sp>
    <dsp:sp modelId="{551F2966-B725-47ED-9A54-39D9ADDD9CEA}">
      <dsp:nvSpPr>
        <dsp:cNvPr id="0" name=""/>
        <dsp:cNvSpPr/>
      </dsp:nvSpPr>
      <dsp:spPr>
        <a:xfrm>
          <a:off x="7638227" y="2464349"/>
          <a:ext cx="835009" cy="835009"/>
        </a:xfrm>
        <a:prstGeom prst="downArrow">
          <a:avLst>
            <a:gd name="adj1" fmla="val 55000"/>
            <a:gd name="adj2" fmla="val 45000"/>
          </a:avLst>
        </a:prstGeom>
        <a:solidFill>
          <a:schemeClr val="accent4">
            <a:tint val="40000"/>
            <a:alpha val="90000"/>
            <a:hueOff val="-1425235"/>
            <a:satOff val="18750"/>
            <a:lumOff val="2302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1425235"/>
              <a:satOff val="18750"/>
              <a:lumOff val="23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3600" kern="1200"/>
        </a:p>
      </dsp:txBody>
      <dsp:txXfrm>
        <a:off x="7826104" y="2464349"/>
        <a:ext cx="459255" cy="6283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1991C8-7456-49CA-BEFB-C742C5A68050}">
      <dsp:nvSpPr>
        <dsp:cNvPr id="0" name=""/>
        <dsp:cNvSpPr/>
      </dsp:nvSpPr>
      <dsp:spPr>
        <a:xfrm>
          <a:off x="103145" y="339239"/>
          <a:ext cx="4138690" cy="60666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kern="1200" dirty="0"/>
        </a:p>
      </dsp:txBody>
      <dsp:txXfrm>
        <a:off x="120914" y="357008"/>
        <a:ext cx="2860713" cy="571126"/>
      </dsp:txXfrm>
    </dsp:sp>
    <dsp:sp modelId="{84A6D045-88AA-4B0C-8652-6B8CFFA8F9B5}">
      <dsp:nvSpPr>
        <dsp:cNvPr id="0" name=""/>
        <dsp:cNvSpPr/>
      </dsp:nvSpPr>
      <dsp:spPr>
        <a:xfrm>
          <a:off x="373612" y="1649368"/>
          <a:ext cx="4368702" cy="98507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 dirty="0"/>
        </a:p>
      </dsp:txBody>
      <dsp:txXfrm>
        <a:off x="402464" y="1678220"/>
        <a:ext cx="3090181" cy="927371"/>
      </dsp:txXfrm>
    </dsp:sp>
    <dsp:sp modelId="{BA9F8325-AAB7-4547-B5C8-93629632EB23}">
      <dsp:nvSpPr>
        <dsp:cNvPr id="0" name=""/>
        <dsp:cNvSpPr/>
      </dsp:nvSpPr>
      <dsp:spPr>
        <a:xfrm>
          <a:off x="723525" y="3109216"/>
          <a:ext cx="4416146" cy="101721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kern="1200" dirty="0"/>
        </a:p>
      </dsp:txBody>
      <dsp:txXfrm>
        <a:off x="753318" y="3139009"/>
        <a:ext cx="3122485" cy="957630"/>
      </dsp:txXfrm>
    </dsp:sp>
    <dsp:sp modelId="{5E06D0ED-8415-45CB-B0DE-7CCA883CE8A8}">
      <dsp:nvSpPr>
        <dsp:cNvPr id="0" name=""/>
        <dsp:cNvSpPr/>
      </dsp:nvSpPr>
      <dsp:spPr>
        <a:xfrm>
          <a:off x="3522609" y="852498"/>
          <a:ext cx="835343" cy="835343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3710561" y="852498"/>
        <a:ext cx="459439" cy="628596"/>
      </dsp:txXfrm>
    </dsp:sp>
    <dsp:sp modelId="{CCC45063-63D6-42E4-9946-AC3939217548}">
      <dsp:nvSpPr>
        <dsp:cNvPr id="0" name=""/>
        <dsp:cNvSpPr/>
      </dsp:nvSpPr>
      <dsp:spPr>
        <a:xfrm>
          <a:off x="3906971" y="2465333"/>
          <a:ext cx="835343" cy="835343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4094923" y="2465333"/>
        <a:ext cx="459439" cy="6285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1991C8-7456-49CA-BEFB-C742C5A68050}">
      <dsp:nvSpPr>
        <dsp:cNvPr id="0" name=""/>
        <dsp:cNvSpPr/>
      </dsp:nvSpPr>
      <dsp:spPr>
        <a:xfrm>
          <a:off x="103145" y="237642"/>
          <a:ext cx="4138690" cy="80985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kern="1200" dirty="0"/>
        </a:p>
      </dsp:txBody>
      <dsp:txXfrm>
        <a:off x="126865" y="261362"/>
        <a:ext cx="2848811" cy="762418"/>
      </dsp:txXfrm>
    </dsp:sp>
    <dsp:sp modelId="{84A6D045-88AA-4B0C-8652-6B8CFFA8F9B5}">
      <dsp:nvSpPr>
        <dsp:cNvPr id="0" name=""/>
        <dsp:cNvSpPr/>
      </dsp:nvSpPr>
      <dsp:spPr>
        <a:xfrm>
          <a:off x="373612" y="1649368"/>
          <a:ext cx="4368702" cy="98507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 dirty="0"/>
        </a:p>
      </dsp:txBody>
      <dsp:txXfrm>
        <a:off x="402464" y="1678220"/>
        <a:ext cx="3090181" cy="927371"/>
      </dsp:txXfrm>
    </dsp:sp>
    <dsp:sp modelId="{BA9F8325-AAB7-4547-B5C8-93629632EB23}">
      <dsp:nvSpPr>
        <dsp:cNvPr id="0" name=""/>
        <dsp:cNvSpPr/>
      </dsp:nvSpPr>
      <dsp:spPr>
        <a:xfrm>
          <a:off x="735364" y="3266595"/>
          <a:ext cx="4416146" cy="101721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kern="1200" dirty="0"/>
        </a:p>
      </dsp:txBody>
      <dsp:txXfrm>
        <a:off x="765157" y="3296388"/>
        <a:ext cx="3122485" cy="957630"/>
      </dsp:txXfrm>
    </dsp:sp>
    <dsp:sp modelId="{5E06D0ED-8415-45CB-B0DE-7CCA883CE8A8}">
      <dsp:nvSpPr>
        <dsp:cNvPr id="0" name=""/>
        <dsp:cNvSpPr/>
      </dsp:nvSpPr>
      <dsp:spPr>
        <a:xfrm>
          <a:off x="3522609" y="852498"/>
          <a:ext cx="835343" cy="835343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3710561" y="852498"/>
        <a:ext cx="459439" cy="628596"/>
      </dsp:txXfrm>
    </dsp:sp>
    <dsp:sp modelId="{CCC45063-63D6-42E4-9946-AC3939217548}">
      <dsp:nvSpPr>
        <dsp:cNvPr id="0" name=""/>
        <dsp:cNvSpPr/>
      </dsp:nvSpPr>
      <dsp:spPr>
        <a:xfrm>
          <a:off x="3906971" y="2465333"/>
          <a:ext cx="835343" cy="835343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4094923" y="2465333"/>
        <a:ext cx="459439" cy="62859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4A7A85-CB11-4BA1-9DB4-251B418F7A59}">
      <dsp:nvSpPr>
        <dsp:cNvPr id="0" name=""/>
        <dsp:cNvSpPr/>
      </dsp:nvSpPr>
      <dsp:spPr>
        <a:xfrm>
          <a:off x="0" y="0"/>
          <a:ext cx="3957530" cy="77108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kern="1200" dirty="0"/>
        </a:p>
      </dsp:txBody>
      <dsp:txXfrm>
        <a:off x="22584" y="22584"/>
        <a:ext cx="3035251" cy="725918"/>
      </dsp:txXfrm>
    </dsp:sp>
    <dsp:sp modelId="{9D419965-07A3-42B7-82EF-9B901EF634E9}">
      <dsp:nvSpPr>
        <dsp:cNvPr id="0" name=""/>
        <dsp:cNvSpPr/>
      </dsp:nvSpPr>
      <dsp:spPr>
        <a:xfrm>
          <a:off x="295529" y="878181"/>
          <a:ext cx="3957530" cy="771086"/>
        </a:xfrm>
        <a:prstGeom prst="roundRect">
          <a:avLst>
            <a:gd name="adj" fmla="val 10000"/>
          </a:avLst>
        </a:prstGeom>
        <a:solidFill>
          <a:schemeClr val="accent2">
            <a:hueOff val="359321"/>
            <a:satOff val="0"/>
            <a:lumOff val="-637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3400" kern="1200"/>
        </a:p>
      </dsp:txBody>
      <dsp:txXfrm>
        <a:off x="318113" y="900765"/>
        <a:ext cx="3115626" cy="725918"/>
      </dsp:txXfrm>
    </dsp:sp>
    <dsp:sp modelId="{65C84EB0-2927-43B2-82F6-D7EE816F7F88}">
      <dsp:nvSpPr>
        <dsp:cNvPr id="0" name=""/>
        <dsp:cNvSpPr/>
      </dsp:nvSpPr>
      <dsp:spPr>
        <a:xfrm>
          <a:off x="591059" y="1756362"/>
          <a:ext cx="3957530" cy="771086"/>
        </a:xfrm>
        <a:prstGeom prst="roundRect">
          <a:avLst>
            <a:gd name="adj" fmla="val 10000"/>
          </a:avLst>
        </a:prstGeom>
        <a:solidFill>
          <a:schemeClr val="accent2">
            <a:hueOff val="718642"/>
            <a:satOff val="0"/>
            <a:lumOff val="-1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3400" kern="1200"/>
        </a:p>
      </dsp:txBody>
      <dsp:txXfrm>
        <a:off x="613643" y="1778946"/>
        <a:ext cx="3115626" cy="725918"/>
      </dsp:txXfrm>
    </dsp:sp>
    <dsp:sp modelId="{26B449AB-EAAD-4AF1-854B-F233BD92BFD7}">
      <dsp:nvSpPr>
        <dsp:cNvPr id="0" name=""/>
        <dsp:cNvSpPr/>
      </dsp:nvSpPr>
      <dsp:spPr>
        <a:xfrm>
          <a:off x="886589" y="2634544"/>
          <a:ext cx="3957530" cy="771086"/>
        </a:xfrm>
        <a:prstGeom prst="roundRect">
          <a:avLst>
            <a:gd name="adj" fmla="val 10000"/>
          </a:avLst>
        </a:prstGeom>
        <a:solidFill>
          <a:schemeClr val="accent2">
            <a:hueOff val="1077963"/>
            <a:satOff val="0"/>
            <a:lumOff val="-1911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 dirty="0"/>
        </a:p>
      </dsp:txBody>
      <dsp:txXfrm>
        <a:off x="909173" y="2657128"/>
        <a:ext cx="3115626" cy="725918"/>
      </dsp:txXfrm>
    </dsp:sp>
    <dsp:sp modelId="{E4F69B16-9180-4414-A03C-3E806C14E990}">
      <dsp:nvSpPr>
        <dsp:cNvPr id="0" name=""/>
        <dsp:cNvSpPr/>
      </dsp:nvSpPr>
      <dsp:spPr>
        <a:xfrm>
          <a:off x="1182119" y="3512725"/>
          <a:ext cx="3957530" cy="771086"/>
        </a:xfrm>
        <a:prstGeom prst="roundRect">
          <a:avLst>
            <a:gd name="adj" fmla="val 10000"/>
          </a:avLst>
        </a:prstGeom>
        <a:solidFill>
          <a:schemeClr val="accent2">
            <a:hueOff val="1437285"/>
            <a:satOff val="0"/>
            <a:lumOff val="-2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kern="1200" dirty="0"/>
        </a:p>
      </dsp:txBody>
      <dsp:txXfrm>
        <a:off x="1204703" y="3535309"/>
        <a:ext cx="3115626" cy="725918"/>
      </dsp:txXfrm>
    </dsp:sp>
    <dsp:sp modelId="{2E5486B6-8152-4E64-AF25-F1C5A91EA7A9}">
      <dsp:nvSpPr>
        <dsp:cNvPr id="0" name=""/>
        <dsp:cNvSpPr/>
      </dsp:nvSpPr>
      <dsp:spPr>
        <a:xfrm>
          <a:off x="3456324" y="563321"/>
          <a:ext cx="501206" cy="50120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3569095" y="563321"/>
        <a:ext cx="275664" cy="377158"/>
      </dsp:txXfrm>
    </dsp:sp>
    <dsp:sp modelId="{4B2DDF18-4FF2-4B1E-BAF7-1C631A2B2A53}">
      <dsp:nvSpPr>
        <dsp:cNvPr id="0" name=""/>
        <dsp:cNvSpPr/>
      </dsp:nvSpPr>
      <dsp:spPr>
        <a:xfrm>
          <a:off x="3751854" y="1441502"/>
          <a:ext cx="501206" cy="50120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876500"/>
            <a:satOff val="-23292"/>
            <a:lumOff val="-2391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876500"/>
              <a:satOff val="-23292"/>
              <a:lumOff val="-239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2400" kern="1200"/>
        </a:p>
      </dsp:txBody>
      <dsp:txXfrm>
        <a:off x="3864625" y="1441502"/>
        <a:ext cx="275664" cy="377158"/>
      </dsp:txXfrm>
    </dsp:sp>
    <dsp:sp modelId="{A5DB5D78-FAE0-45A1-B74B-8886E2C616F5}">
      <dsp:nvSpPr>
        <dsp:cNvPr id="0" name=""/>
        <dsp:cNvSpPr/>
      </dsp:nvSpPr>
      <dsp:spPr>
        <a:xfrm>
          <a:off x="4047384" y="2306832"/>
          <a:ext cx="501206" cy="50120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1753000"/>
            <a:satOff val="-46584"/>
            <a:lumOff val="-4781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1753000"/>
              <a:satOff val="-46584"/>
              <a:lumOff val="-47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2400" kern="1200"/>
        </a:p>
      </dsp:txBody>
      <dsp:txXfrm>
        <a:off x="4160155" y="2306832"/>
        <a:ext cx="275664" cy="377158"/>
      </dsp:txXfrm>
    </dsp:sp>
    <dsp:sp modelId="{1E064091-6FAD-4CFA-89E8-96F885912635}">
      <dsp:nvSpPr>
        <dsp:cNvPr id="0" name=""/>
        <dsp:cNvSpPr/>
      </dsp:nvSpPr>
      <dsp:spPr>
        <a:xfrm>
          <a:off x="4342914" y="3193581"/>
          <a:ext cx="501206" cy="50120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2629500"/>
            <a:satOff val="-69876"/>
            <a:lumOff val="-7172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2629500"/>
              <a:satOff val="-69876"/>
              <a:lumOff val="-717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4455685" y="3193581"/>
        <a:ext cx="275664" cy="3771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1991C8-7456-49CA-BEFB-C742C5A68050}">
      <dsp:nvSpPr>
        <dsp:cNvPr id="0" name=""/>
        <dsp:cNvSpPr/>
      </dsp:nvSpPr>
      <dsp:spPr>
        <a:xfrm>
          <a:off x="103145" y="339804"/>
          <a:ext cx="4138690" cy="60553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_tradnl" sz="1400" kern="1200" dirty="0"/>
        </a:p>
      </dsp:txBody>
      <dsp:txXfrm>
        <a:off x="120880" y="357539"/>
        <a:ext cx="2860781" cy="570063"/>
      </dsp:txXfrm>
    </dsp:sp>
    <dsp:sp modelId="{84A6D045-88AA-4B0C-8652-6B8CFFA8F9B5}">
      <dsp:nvSpPr>
        <dsp:cNvPr id="0" name=""/>
        <dsp:cNvSpPr/>
      </dsp:nvSpPr>
      <dsp:spPr>
        <a:xfrm>
          <a:off x="345303" y="1351870"/>
          <a:ext cx="4368702" cy="84149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 dirty="0"/>
        </a:p>
      </dsp:txBody>
      <dsp:txXfrm>
        <a:off x="369950" y="1376517"/>
        <a:ext cx="3098591" cy="792205"/>
      </dsp:txXfrm>
    </dsp:sp>
    <dsp:sp modelId="{BA9F8325-AAB7-4547-B5C8-93629632EB23}">
      <dsp:nvSpPr>
        <dsp:cNvPr id="0" name=""/>
        <dsp:cNvSpPr/>
      </dsp:nvSpPr>
      <dsp:spPr>
        <a:xfrm>
          <a:off x="702992" y="2543772"/>
          <a:ext cx="4416146" cy="65271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ES" sz="1400" kern="1200" dirty="0"/>
        </a:p>
      </dsp:txBody>
      <dsp:txXfrm>
        <a:off x="722109" y="2562889"/>
        <a:ext cx="3143837" cy="614477"/>
      </dsp:txXfrm>
    </dsp:sp>
    <dsp:sp modelId="{5E06D0ED-8415-45CB-B0DE-7CCA883CE8A8}">
      <dsp:nvSpPr>
        <dsp:cNvPr id="0" name=""/>
        <dsp:cNvSpPr/>
      </dsp:nvSpPr>
      <dsp:spPr>
        <a:xfrm>
          <a:off x="3522609" y="664270"/>
          <a:ext cx="835343" cy="835343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3710561" y="664270"/>
        <a:ext cx="459439" cy="628596"/>
      </dsp:txXfrm>
    </dsp:sp>
    <dsp:sp modelId="{CCC45063-63D6-42E4-9946-AC3939217548}">
      <dsp:nvSpPr>
        <dsp:cNvPr id="0" name=""/>
        <dsp:cNvSpPr/>
      </dsp:nvSpPr>
      <dsp:spPr>
        <a:xfrm>
          <a:off x="3906971" y="1963392"/>
          <a:ext cx="835343" cy="835343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400" kern="1200"/>
        </a:p>
      </dsp:txBody>
      <dsp:txXfrm>
        <a:off x="4094923" y="1963392"/>
        <a:ext cx="459439" cy="6285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93EA81-652C-42AC-ABDC-F36BC0929AF7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A6EA4-6B4E-4259-96A6-43A9274DA7C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5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3656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5166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271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364477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176894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1701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4989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58178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815843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71973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693514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59726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1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32678044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1529303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5632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612965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7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2-LINE HEAD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0418" y="515273"/>
            <a:ext cx="10346231" cy="8807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0418" y="1628274"/>
            <a:ext cx="10346231" cy="47684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100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064ECE5C-F180-9075-788D-279D1026D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365126"/>
            <a:ext cx="9505951" cy="1307810"/>
          </a:xfrm>
        </p:spPr>
        <p:txBody>
          <a:bodyPr anchor="t" anchorCtr="0">
            <a:normAutofit/>
          </a:bodyPr>
          <a:lstStyle>
            <a:lvl1pPr>
              <a:defRPr sz="3600" b="1" cap="none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1F969E75-B7CE-12A2-BED5-D7099AC3D8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425" y="1799072"/>
            <a:ext cx="9505951" cy="4288907"/>
          </a:xfrm>
        </p:spPr>
        <p:txBody>
          <a:bodyPr/>
          <a:lstStyle>
            <a:lvl1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FFD161"/>
              </a:buClr>
              <a:defRPr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C8F6232-EEA3-60E9-788B-6DB05EDDA6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7" y="0"/>
            <a:ext cx="121934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920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99596-F1AE-5F4F-A317-9CBFC14D5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3500"/>
              </a:lnSpc>
              <a:defRPr sz="3200" b="0" i="0">
                <a:solidFill>
                  <a:schemeClr val="accent1"/>
                </a:solidFill>
                <a:latin typeface="Montserrat" pitchFamily="2" charset="77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61ED17C-880A-074C-9BF0-23F0938AC6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3138393"/>
            <a:ext cx="10515600" cy="2969108"/>
          </a:xfrm>
          <a:prstGeom prst="rect">
            <a:avLst/>
          </a:prstGeom>
        </p:spPr>
        <p:txBody>
          <a:bodyPr/>
          <a:lstStyle>
            <a:lvl1pPr marL="285750" indent="-285750"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i="0">
                <a:solidFill>
                  <a:schemeClr val="bg2">
                    <a:lumMod val="25000"/>
                  </a:schemeClr>
                </a:solidFill>
                <a:latin typeface="Montserrat Light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51DF64B-8B54-3E4C-99FB-4CCC8893FD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1825624"/>
            <a:ext cx="10515600" cy="11778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Montserrat Ligh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E5DDC68-5304-0D45-8D00-ECA45119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353780"/>
            <a:ext cx="2016759" cy="383135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856" y="6100877"/>
            <a:ext cx="1748147" cy="76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109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7F703A5-3C71-3058-B6B3-4468C68180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00150" y="3303491"/>
            <a:ext cx="10209953" cy="27942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7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over text is Arial Reg.54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DC139CC-0720-FAD6-F991-85F446224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00152" y="740834"/>
            <a:ext cx="2619345" cy="5449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67">
                <a:solidFill>
                  <a:schemeClr val="accent2"/>
                </a:solidFill>
              </a:defRPr>
            </a:lvl1pPr>
          </a:lstStyle>
          <a:p>
            <a:r>
              <a:rPr lang="en-US"/>
              <a:t>01.01.24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FFEC8C07-DF76-347C-3E44-564CF549BF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4563"/>
            <a:ext cx="716605" cy="6858000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" name="Marcador de texto 6">
            <a:extLst>
              <a:ext uri="{FF2B5EF4-FFF2-40B4-BE49-F238E27FC236}">
                <a16:creationId xmlns:a16="http://schemas.microsoft.com/office/drawing/2014/main" id="{9BC44D5F-87ED-B102-B475-19972AC474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51280" y="323017"/>
            <a:ext cx="1611803" cy="520456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DD8DE7-1CC8-472A-F3E3-BDC64C316A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10403" y="6356351"/>
            <a:ext cx="1042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33">
                <a:solidFill>
                  <a:schemeClr val="accent1"/>
                </a:solidFill>
              </a:defRPr>
            </a:lvl1pPr>
          </a:lstStyle>
          <a:p>
            <a:fld id="{96F64DD7-E411-6141-89FE-121B5323FD5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id="{A4B612E1-8D78-84C6-6A01-A6586656D71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39281" y="6417750"/>
            <a:ext cx="4113439" cy="19508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33">
                <a:solidFill>
                  <a:schemeClr val="accent1"/>
                </a:solidFill>
              </a:defRPr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13606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50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6B9B1E2-DDBB-62BA-0FFA-312204B70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71C4B-7D82-4C92-A4F7-A1D9B2AD2B51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AE13B54-2477-43EF-C5F7-106DD2EF3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FF20BD-27BA-92C8-AA4B-8750A4249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9762E-2663-42D1-B2D5-DEA0B6A0165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4725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711762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59" imgH="355" progId="TCLayout.ActiveDocument.1">
                  <p:embed/>
                </p:oleObj>
              </mc:Choice>
              <mc:Fallback>
                <p:oleObj name="think-cell Slide" r:id="rId11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4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8" r:id="rId6"/>
    <p:sldLayoutId id="2147483698" r:id="rId7"/>
    <p:sldLayoutId id="2147483699" r:id="rId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482744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jpe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diagramDrawing" Target="../diagrams/drawing2.xml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12" Type="http://schemas.openxmlformats.org/officeDocument/2006/relationships/diagramColors" Target="../diagrams/colors2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jpeg"/><Relationship Id="rId11" Type="http://schemas.openxmlformats.org/officeDocument/2006/relationships/diagramQuickStyle" Target="../diagrams/quickStyle2.xml"/><Relationship Id="rId5" Type="http://schemas.openxmlformats.org/officeDocument/2006/relationships/image" Target="../media/image46.jpeg"/><Relationship Id="rId10" Type="http://schemas.openxmlformats.org/officeDocument/2006/relationships/diagramLayout" Target="../diagrams/layout2.xml"/><Relationship Id="rId4" Type="http://schemas.openxmlformats.org/officeDocument/2006/relationships/image" Target="../media/image45.jpeg"/><Relationship Id="rId9" Type="http://schemas.openxmlformats.org/officeDocument/2006/relationships/diagramData" Target="../diagrams/data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52.jpeg"/><Relationship Id="rId7" Type="http://schemas.openxmlformats.org/officeDocument/2006/relationships/diagramLayout" Target="../diagrams/layout3.xml"/><Relationship Id="rId12" Type="http://schemas.openxmlformats.org/officeDocument/2006/relationships/image" Target="../media/image43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.xml"/><Relationship Id="rId6" Type="http://schemas.openxmlformats.org/officeDocument/2006/relationships/diagramData" Target="../diagrams/data3.xml"/><Relationship Id="rId11" Type="http://schemas.openxmlformats.org/officeDocument/2006/relationships/image" Target="../media/image54.jpeg"/><Relationship Id="rId5" Type="http://schemas.openxmlformats.org/officeDocument/2006/relationships/image" Target="../media/image50.png"/><Relationship Id="rId10" Type="http://schemas.microsoft.com/office/2007/relationships/diagramDrawing" Target="../diagrams/drawing3.xml"/><Relationship Id="rId4" Type="http://schemas.openxmlformats.org/officeDocument/2006/relationships/image" Target="../media/image53.jpeg"/><Relationship Id="rId9" Type="http://schemas.openxmlformats.org/officeDocument/2006/relationships/diagramColors" Target="../diagrams/colors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42.png"/><Relationship Id="rId7" Type="http://schemas.openxmlformats.org/officeDocument/2006/relationships/image" Target="../media/image5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39.jpeg"/><Relationship Id="rId9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image" Target="../media/image43.png"/><Relationship Id="rId7" Type="http://schemas.openxmlformats.org/officeDocument/2006/relationships/image" Target="../media/image59.png"/><Relationship Id="rId12" Type="http://schemas.microsoft.com/office/2007/relationships/diagramDrawing" Target="../diagrams/drawing4.xml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2.jpeg"/><Relationship Id="rId11" Type="http://schemas.openxmlformats.org/officeDocument/2006/relationships/diagramColors" Target="../diagrams/colors4.xml"/><Relationship Id="rId5" Type="http://schemas.openxmlformats.org/officeDocument/2006/relationships/image" Target="../media/image61.jpeg"/><Relationship Id="rId10" Type="http://schemas.openxmlformats.org/officeDocument/2006/relationships/diagramQuickStyle" Target="../diagrams/quickStyle4.xml"/><Relationship Id="rId4" Type="http://schemas.openxmlformats.org/officeDocument/2006/relationships/image" Target="../media/image51.jpeg"/><Relationship Id="rId9" Type="http://schemas.openxmlformats.org/officeDocument/2006/relationships/diagramLayout" Target="../diagrams/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image" Target="../media/image42.png"/><Relationship Id="rId7" Type="http://schemas.openxmlformats.org/officeDocument/2006/relationships/image" Target="../media/image65.png"/><Relationship Id="rId12" Type="http://schemas.microsoft.com/office/2007/relationships/diagramDrawing" Target="../diagrams/drawing5.xm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4.png"/><Relationship Id="rId11" Type="http://schemas.openxmlformats.org/officeDocument/2006/relationships/diagramColors" Target="../diagrams/colors5.xml"/><Relationship Id="rId5" Type="http://schemas.openxmlformats.org/officeDocument/2006/relationships/image" Target="../media/image39.jpeg"/><Relationship Id="rId10" Type="http://schemas.openxmlformats.org/officeDocument/2006/relationships/diagramQuickStyle" Target="../diagrams/quickStyle5.xml"/><Relationship Id="rId4" Type="http://schemas.openxmlformats.org/officeDocument/2006/relationships/image" Target="../media/image63.png"/><Relationship Id="rId9" Type="http://schemas.openxmlformats.org/officeDocument/2006/relationships/diagramLayout" Target="../diagrams/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doi.org/10.1155/2024/4227941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59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59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42.png"/><Relationship Id="rId7" Type="http://schemas.openxmlformats.org/officeDocument/2006/relationships/image" Target="../media/image59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71.png"/><Relationship Id="rId4" Type="http://schemas.openxmlformats.org/officeDocument/2006/relationships/image" Target="../media/image55.png"/><Relationship Id="rId9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D71BBBED-C082-9129-962D-7BE8E334FE01}"/>
              </a:ext>
            </a:extLst>
          </p:cNvPr>
          <p:cNvSpPr txBox="1"/>
          <p:nvPr/>
        </p:nvSpPr>
        <p:spPr>
          <a:xfrm>
            <a:off x="1050122" y="1985130"/>
            <a:ext cx="73339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ación y Manejo del Riesgo Cardiovascular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23DBE31-3674-DC32-88E2-87F7F1052B61}"/>
              </a:ext>
            </a:extLst>
          </p:cNvPr>
          <p:cNvSpPr txBox="1"/>
          <p:nvPr/>
        </p:nvSpPr>
        <p:spPr>
          <a:xfrm>
            <a:off x="640012" y="5273749"/>
            <a:ext cx="430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>
                <a:solidFill>
                  <a:schemeClr val="bg2">
                    <a:lumMod val="85000"/>
                  </a:schemeClr>
                </a:solidFill>
              </a:rPr>
              <a:t>Filiación:</a:t>
            </a:r>
          </a:p>
          <a:p>
            <a:r>
              <a:rPr lang="es-ES_tradnl" dirty="0">
                <a:solidFill>
                  <a:schemeClr val="bg2">
                    <a:lumMod val="85000"/>
                  </a:schemeClr>
                </a:solidFill>
              </a:rPr>
              <a:t>Dr./</a:t>
            </a:r>
            <a:r>
              <a:rPr lang="es-ES_tradnl" dirty="0" err="1">
                <a:solidFill>
                  <a:schemeClr val="bg2">
                    <a:lumMod val="85000"/>
                  </a:schemeClr>
                </a:solidFill>
              </a:rPr>
              <a:t>Dra</a:t>
            </a:r>
            <a:r>
              <a:rPr lang="es-ES_tradnl" dirty="0">
                <a:solidFill>
                  <a:schemeClr val="bg2">
                    <a:lumMod val="85000"/>
                  </a:schemeClr>
                </a:solidFill>
              </a:rPr>
              <a:t>:</a:t>
            </a:r>
            <a:endParaRPr lang="es-ES" dirty="0">
              <a:solidFill>
                <a:schemeClr val="bg2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Imagen 2">
            <a:extLst>
              <a:ext uri="{FF2B5EF4-FFF2-40B4-BE49-F238E27FC236}">
                <a16:creationId xmlns:a16="http://schemas.microsoft.com/office/drawing/2014/main" id="{2B486F64-A479-76D2-8182-73F9CC710A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95"/>
          <a:stretch>
            <a:fillRect/>
          </a:stretch>
        </p:blipFill>
        <p:spPr bwMode="auto">
          <a:xfrm>
            <a:off x="3910013" y="1320800"/>
            <a:ext cx="7496175" cy="494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50FBB481-62F8-223B-0A20-0F4339B30C7B}"/>
              </a:ext>
            </a:extLst>
          </p:cNvPr>
          <p:cNvSpPr/>
          <p:nvPr/>
        </p:nvSpPr>
        <p:spPr>
          <a:xfrm>
            <a:off x="101600" y="746125"/>
            <a:ext cx="11988800" cy="5683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77500" lnSpcReduction="200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esar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l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xistencia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mucha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pcione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terapéutica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hipolipemiante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…..</a:t>
            </a:r>
          </a:p>
        </p:txBody>
      </p:sp>
      <p:sp>
        <p:nvSpPr>
          <p:cNvPr id="7172" name="CuadroTexto 5">
            <a:extLst>
              <a:ext uri="{FF2B5EF4-FFF2-40B4-BE49-F238E27FC236}">
                <a16:creationId xmlns:a16="http://schemas.microsoft.com/office/drawing/2014/main" id="{6F6194DA-41F1-7256-CF06-4ABC0B3D51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625" y="5805488"/>
            <a:ext cx="278606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s-ES" sz="700" b="1" i="1" dirty="0">
                <a:solidFill>
                  <a:schemeClr val="accent1"/>
                </a:solidFill>
              </a:rPr>
              <a:t>Banach et al. 2023: The year in cardiovascular disease - the year of new and prospective lipid lowering therapies. Can we render dyslipidemia a rare disease by 2024? Arch Med Sci 2023; 19 (6): 1602–1615 DOI: https://doi.org/10.5114/aoms/174743</a:t>
            </a:r>
            <a:endParaRPr lang="es-ES" altLang="es-ES" sz="700" b="1" i="1" dirty="0">
              <a:solidFill>
                <a:schemeClr val="accent1"/>
              </a:solidFill>
            </a:endParaRPr>
          </a:p>
        </p:txBody>
      </p:sp>
      <p:sp>
        <p:nvSpPr>
          <p:cNvPr id="7173" name="CuadroTexto 6">
            <a:extLst>
              <a:ext uri="{FF2B5EF4-FFF2-40B4-BE49-F238E27FC236}">
                <a16:creationId xmlns:a16="http://schemas.microsoft.com/office/drawing/2014/main" id="{79AE38C9-8012-0C66-9BCC-C0ABAA3630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625" y="1836738"/>
            <a:ext cx="31369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>
                <a:solidFill>
                  <a:srgbClr val="0070C0"/>
                </a:solidFill>
              </a:rPr>
              <a:t>Mecanismos de acción de los tratamientos hipolipemiantes y otras estrategias terapéuticas</a:t>
            </a:r>
            <a:endParaRPr lang="es-ES" altLang="es-ES" sz="2000" b="1">
              <a:solidFill>
                <a:srgbClr val="0070C0"/>
              </a:solidFill>
            </a:endParaRPr>
          </a:p>
        </p:txBody>
      </p:sp>
      <p:sp>
        <p:nvSpPr>
          <p:cNvPr id="7174" name="CuadroTexto 8">
            <a:extLst>
              <a:ext uri="{FF2B5EF4-FFF2-40B4-BE49-F238E27FC236}">
                <a16:creationId xmlns:a16="http://schemas.microsoft.com/office/drawing/2014/main" id="{FFAA5A24-3E10-0E7C-B243-CAFEAAD350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625" y="3436938"/>
            <a:ext cx="3136900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>
                <a:solidFill>
                  <a:srgbClr val="000000"/>
                </a:solidFill>
                <a:latin typeface="OpenSans"/>
              </a:rPr>
              <a:t>Apo(a) – apolipoprotein (a), mRNA – messenger ribonucleic acid, ANGPTL3 – angiopoietin like protein 3, CRISPR-Cas9 – clustered regularly interspaced short palindromic repeats – caspase 9, ASGPR –asialoglycoprotein receptor, ApoC-III – apolipoprotein CIII, ApoB100 – apolipoprotein B100, PCSK9 – proprotein convertase subtilisin/kexin 9, VLDL – very low-density lipoprotein, LDL-R – low-density lipoprotein receptor, Lp(a) – lipoprotein (a), TG – triglycerides, MTP – microsomal triglyceride transfer protein, IDL-R – intermediate-density lipoprotein receptor (VLDL remnants), LDL – low-density lipoprotein, CETP – cholesterol ester transfer protein, HDL – high-density lipoprotein, ApoA-I – apolipoprotein A-I, LRP1 – low density lipoprotein receptor-related protein 1, LPL – lipoprotein lipase, HL – hepatic lipase, IDL – intermediate-density lipoprotein (VLDL remnants), ABCG5/8 – ATP binding cassette subfamily G member 5/8, acetyl-CoA – acetyl coenzyme A, FDC – fixed dose combination, HMG-CoA – </a:t>
            </a:r>
            <a:r>
              <a:rPr lang="el-GR" altLang="es-ES" sz="700">
                <a:solidFill>
                  <a:srgbClr val="000000"/>
                </a:solidFill>
                <a:latin typeface="OpenSans"/>
              </a:rPr>
              <a:t>β-</a:t>
            </a:r>
            <a:r>
              <a:rPr lang="es-ES" altLang="es-ES" sz="700">
                <a:solidFill>
                  <a:srgbClr val="000000"/>
                </a:solidFill>
                <a:latin typeface="OpenSans"/>
              </a:rPr>
              <a:t>hydroxy </a:t>
            </a:r>
            <a:r>
              <a:rPr lang="el-GR" altLang="es-ES" sz="700">
                <a:solidFill>
                  <a:srgbClr val="000000"/>
                </a:solidFill>
                <a:latin typeface="OpenSans"/>
              </a:rPr>
              <a:t>β-</a:t>
            </a:r>
            <a:r>
              <a:rPr lang="es-ES" altLang="es-ES" sz="700">
                <a:solidFill>
                  <a:srgbClr val="000000"/>
                </a:solidFill>
                <a:latin typeface="OpenSans"/>
              </a:rPr>
              <a:t>methylglutaryl-CoA, FA – fatty acid, NPC1L1 – Niemann-Pick C1-Like 1, ACSVL1 – very long-chain acyl-CoA synthetase, ChMR – chylomicron remnants, ChM – chylomicron, PPARa – peroxisome proliferator-activated receptor </a:t>
            </a:r>
            <a:r>
              <a:rPr lang="el-GR" altLang="es-ES" sz="700">
                <a:solidFill>
                  <a:srgbClr val="000000"/>
                </a:solidFill>
                <a:latin typeface="OpenSans"/>
              </a:rPr>
              <a:t>α, </a:t>
            </a:r>
            <a:r>
              <a:rPr lang="es-ES" altLang="es-ES" sz="700">
                <a:solidFill>
                  <a:srgbClr val="000000"/>
                </a:solidFill>
                <a:latin typeface="OpenSans"/>
              </a:rPr>
              <a:t>FFA – free fatty acid, ApoA-II – apolipoprotein A-II, DGAT – diglyceride acyltransferase, PPARg – peroxisome proliferator-activated receptor g, PPARd – peroxisome proliferator-activated receptor d, SC-A – scavenger receptor A, CD36 – cluster of differentiation 36, IsmA – intestinal sterol metabolism</a:t>
            </a:r>
            <a:endParaRPr lang="es-ES" altLang="es-ES" sz="70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5360C6A-B667-76CE-8B6D-1F8D6678FC61}"/>
              </a:ext>
            </a:extLst>
          </p:cNvPr>
          <p:cNvSpPr/>
          <p:nvPr/>
        </p:nvSpPr>
        <p:spPr>
          <a:xfrm>
            <a:off x="101600" y="719138"/>
            <a:ext cx="11988800" cy="5683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…..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l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LDL-c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igue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ignificativamente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mal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controlad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!</a:t>
            </a:r>
          </a:p>
        </p:txBody>
      </p:sp>
      <p:pic>
        <p:nvPicPr>
          <p:cNvPr id="8195" name="Imagen 3">
            <a:extLst>
              <a:ext uri="{FF2B5EF4-FFF2-40B4-BE49-F238E27FC236}">
                <a16:creationId xmlns:a16="http://schemas.microsoft.com/office/drawing/2014/main" id="{A6D840D6-BB49-B22D-FE87-DE6B2DB41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37" t="2637" r="12035" b="55193"/>
          <a:stretch>
            <a:fillRect/>
          </a:stretch>
        </p:blipFill>
        <p:spPr bwMode="auto">
          <a:xfrm>
            <a:off x="638175" y="2328863"/>
            <a:ext cx="5103813" cy="289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Imagen 4">
            <a:extLst>
              <a:ext uri="{FF2B5EF4-FFF2-40B4-BE49-F238E27FC236}">
                <a16:creationId xmlns:a16="http://schemas.microsoft.com/office/drawing/2014/main" id="{FBB932A2-1263-5AC2-8DD2-B194E52E2F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94" r="10175" b="5835"/>
          <a:stretch>
            <a:fillRect/>
          </a:stretch>
        </p:blipFill>
        <p:spPr bwMode="auto">
          <a:xfrm>
            <a:off x="5599113" y="2233613"/>
            <a:ext cx="5830887" cy="289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CuadroTexto 6">
            <a:extLst>
              <a:ext uri="{FF2B5EF4-FFF2-40B4-BE49-F238E27FC236}">
                <a16:creationId xmlns:a16="http://schemas.microsoft.com/office/drawing/2014/main" id="{E5E4E143-7ED6-50CC-3238-0F6456971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4863" y="5262563"/>
            <a:ext cx="529113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600" b="1">
                <a:solidFill>
                  <a:srgbClr val="0070C0"/>
                </a:solidFill>
              </a:rPr>
              <a:t>Logro de objetivo terapéutico según RCV</a:t>
            </a:r>
            <a:endParaRPr lang="es-ES" altLang="es-ES" sz="1600" b="1">
              <a:solidFill>
                <a:srgbClr val="0070C0"/>
              </a:solidFill>
            </a:endParaRPr>
          </a:p>
        </p:txBody>
      </p:sp>
      <p:sp>
        <p:nvSpPr>
          <p:cNvPr id="8198" name="CuadroTexto 7">
            <a:extLst>
              <a:ext uri="{FF2B5EF4-FFF2-40B4-BE49-F238E27FC236}">
                <a16:creationId xmlns:a16="http://schemas.microsoft.com/office/drawing/2014/main" id="{EA0CC9D4-1CE3-839E-5B19-4AC53736A0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19888" y="5221288"/>
            <a:ext cx="44450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600" b="1">
                <a:solidFill>
                  <a:srgbClr val="0070C0"/>
                </a:solidFill>
              </a:rPr>
              <a:t>Logro de objetivo terapéutico según determinantes de la enfermedad</a:t>
            </a:r>
            <a:endParaRPr lang="es-ES" altLang="es-ES" sz="1600" b="1">
              <a:solidFill>
                <a:srgbClr val="0070C0"/>
              </a:solidFill>
            </a:endParaRPr>
          </a:p>
        </p:txBody>
      </p:sp>
      <p:sp>
        <p:nvSpPr>
          <p:cNvPr id="8199" name="CuadroTexto 8">
            <a:extLst>
              <a:ext uri="{FF2B5EF4-FFF2-40B4-BE49-F238E27FC236}">
                <a16:creationId xmlns:a16="http://schemas.microsoft.com/office/drawing/2014/main" id="{814FA492-3ED9-F356-9AC6-3E37C4DC37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7213" y="5902325"/>
            <a:ext cx="5289550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s-ES" sz="700" b="1" i="1">
                <a:solidFill>
                  <a:schemeClr val="accent1"/>
                </a:solidFill>
              </a:rPr>
              <a:t>Cinza-Sanjurjo S, Barrios V, Fierro-González D, Polo-García, Pallarés-Carratalá V. Achievement of LDL-Cholesterol Goals in Patients Receiving LLT in Primary Care: TERESA-AP Study. </a:t>
            </a:r>
            <a:r>
              <a:rPr lang="es-ES" altLang="es-ES" sz="700" b="1" i="1">
                <a:solidFill>
                  <a:schemeClr val="accent1"/>
                </a:solidFill>
              </a:rPr>
              <a:t>Wiley Cardiovascular Therapeutics 2024. https://doi.org/10.1155/2024/4227941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A7C9CDD-127B-61EC-094D-D3B9AF682C6C}"/>
              </a:ext>
            </a:extLst>
          </p:cNvPr>
          <p:cNvSpPr txBox="1"/>
          <p:nvPr/>
        </p:nvSpPr>
        <p:spPr>
          <a:xfrm>
            <a:off x="762000" y="1470025"/>
            <a:ext cx="8940800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Estudio TERESA-AP: </a:t>
            </a:r>
            <a:r>
              <a:rPr lang="es-ES" sz="2000" b="1" dirty="0">
                <a:solidFill>
                  <a:srgbClr val="0070C0"/>
                </a:solidFill>
                <a:latin typeface="+mn-lt"/>
              </a:rPr>
              <a:t>Consecución de los objetivos de </a:t>
            </a:r>
            <a:r>
              <a:rPr lang="es-ES" sz="2000" b="1" dirty="0" err="1">
                <a:solidFill>
                  <a:srgbClr val="0070C0"/>
                </a:solidFill>
                <a:latin typeface="+mn-lt"/>
              </a:rPr>
              <a:t>cLDL</a:t>
            </a:r>
            <a:r>
              <a:rPr lang="es-ES" sz="2000" b="1" dirty="0">
                <a:solidFill>
                  <a:srgbClr val="0070C0"/>
                </a:solidFill>
                <a:latin typeface="+mn-lt"/>
              </a:rPr>
              <a:t> en pacientes recibiendo tratamiento hipolipemiante en Atención Primaria</a:t>
            </a:r>
            <a:endParaRPr lang="es-E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8201" name="Imagen 11">
            <a:extLst>
              <a:ext uri="{FF2B5EF4-FFF2-40B4-BE49-F238E27FC236}">
                <a16:creationId xmlns:a16="http://schemas.microsoft.com/office/drawing/2014/main" id="{BCE88952-8D65-74A1-9080-6304ADFFA5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45"/>
          <a:stretch>
            <a:fillRect/>
          </a:stretch>
        </p:blipFill>
        <p:spPr bwMode="auto">
          <a:xfrm>
            <a:off x="10261600" y="1970088"/>
            <a:ext cx="274638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2" name="Imagen 13">
            <a:extLst>
              <a:ext uri="{FF2B5EF4-FFF2-40B4-BE49-F238E27FC236}">
                <a16:creationId xmlns:a16="http://schemas.microsoft.com/office/drawing/2014/main" id="{468AEA3E-2B99-31D3-5B32-F35D60328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45" b="-3864"/>
          <a:stretch>
            <a:fillRect/>
          </a:stretch>
        </p:blipFill>
        <p:spPr bwMode="auto">
          <a:xfrm>
            <a:off x="10261600" y="1625600"/>
            <a:ext cx="274638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3" name="CuadroTexto 14">
            <a:extLst>
              <a:ext uri="{FF2B5EF4-FFF2-40B4-BE49-F238E27FC236}">
                <a16:creationId xmlns:a16="http://schemas.microsoft.com/office/drawing/2014/main" id="{FF84C1B9-8087-0D24-5139-EB7F7AD9ED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69550" y="1597025"/>
            <a:ext cx="1060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400" b="1"/>
              <a:t>Logrado</a:t>
            </a:r>
            <a:endParaRPr lang="es-ES" altLang="es-ES" sz="1400" b="1"/>
          </a:p>
        </p:txBody>
      </p:sp>
      <p:sp>
        <p:nvSpPr>
          <p:cNvPr id="8204" name="CuadroTexto 15">
            <a:extLst>
              <a:ext uri="{FF2B5EF4-FFF2-40B4-BE49-F238E27FC236}">
                <a16:creationId xmlns:a16="http://schemas.microsoft.com/office/drawing/2014/main" id="{9D31586C-74C6-E6EA-0E1C-4105F12823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26713" y="1930400"/>
            <a:ext cx="10588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400" b="1"/>
              <a:t>No logrado</a:t>
            </a:r>
            <a:endParaRPr lang="es-ES" altLang="es-ES" sz="1400" b="1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481938F-3126-3A15-796A-FA3ED021ED99}"/>
              </a:ext>
            </a:extLst>
          </p:cNvPr>
          <p:cNvSpPr txBox="1"/>
          <p:nvPr/>
        </p:nvSpPr>
        <p:spPr>
          <a:xfrm>
            <a:off x="2679654" y="6414086"/>
            <a:ext cx="612466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s-ES"/>
            </a:defPPr>
            <a:lvl1pPr algn="ctr">
              <a:lnSpc>
                <a:spcPct val="100000"/>
              </a:lnSpc>
              <a:spcBef>
                <a:spcPct val="0"/>
              </a:spcBef>
              <a:buFontTx/>
              <a:buNone/>
              <a:defRPr sz="1600" b="1">
                <a:solidFill>
                  <a:srgbClr val="0070C0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sz="1100" dirty="0">
                <a:solidFill>
                  <a:schemeClr val="tx1">
                    <a:lumMod val="50000"/>
                  </a:schemeClr>
                </a:solidFill>
              </a:rPr>
              <a:t>Estudio patrocinado por Almirall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1049060-6B2D-B684-6B91-F6E75A6BED43}"/>
              </a:ext>
            </a:extLst>
          </p:cNvPr>
          <p:cNvSpPr/>
          <p:nvPr/>
        </p:nvSpPr>
        <p:spPr>
          <a:xfrm>
            <a:off x="101600" y="719138"/>
            <a:ext cx="11988800" cy="5683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…..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l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LDL-c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igue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ignificativamente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mal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controlad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!</a:t>
            </a:r>
          </a:p>
        </p:txBody>
      </p:sp>
      <p:sp>
        <p:nvSpPr>
          <p:cNvPr id="9219" name="CuadroTexto 6">
            <a:extLst>
              <a:ext uri="{FF2B5EF4-FFF2-40B4-BE49-F238E27FC236}">
                <a16:creationId xmlns:a16="http://schemas.microsoft.com/office/drawing/2014/main" id="{47B89092-AE51-23EC-9D60-EABA094E8A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1738" y="2733773"/>
            <a:ext cx="529113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600" b="1">
                <a:solidFill>
                  <a:srgbClr val="0070C0"/>
                </a:solidFill>
              </a:rPr>
              <a:t>Logro de objetivo terapéutico según RCV</a:t>
            </a:r>
            <a:endParaRPr lang="es-ES" altLang="es-ES" sz="1600" b="1">
              <a:solidFill>
                <a:srgbClr val="0070C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4D9C0D3-4E79-8313-60AA-E72CB55EE271}"/>
              </a:ext>
            </a:extLst>
          </p:cNvPr>
          <p:cNvSpPr txBox="1"/>
          <p:nvPr/>
        </p:nvSpPr>
        <p:spPr>
          <a:xfrm>
            <a:off x="762000" y="1534033"/>
            <a:ext cx="10202863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Estudio TERESA-Cardio: </a:t>
            </a:r>
            <a:r>
              <a:rPr lang="es-ES" sz="2000" b="1" dirty="0">
                <a:solidFill>
                  <a:srgbClr val="0070C0"/>
                </a:solidFill>
                <a:latin typeface="+mn-lt"/>
              </a:rPr>
              <a:t>Consecución de los objetivos de </a:t>
            </a:r>
            <a:r>
              <a:rPr lang="es-ES" sz="2000" b="1" dirty="0" err="1">
                <a:solidFill>
                  <a:srgbClr val="0070C0"/>
                </a:solidFill>
                <a:latin typeface="+mn-lt"/>
              </a:rPr>
              <a:t>cLDL</a:t>
            </a:r>
            <a:r>
              <a:rPr lang="es-ES" sz="2000" b="1" dirty="0">
                <a:solidFill>
                  <a:srgbClr val="0070C0"/>
                </a:solidFill>
                <a:latin typeface="+mn-lt"/>
              </a:rPr>
              <a:t> en pacientes recibiendo tratamiento hipolipemiante en consulta de cardiología</a:t>
            </a:r>
            <a:endParaRPr lang="es-E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9221" name="Imagen 3">
            <a:extLst>
              <a:ext uri="{FF2B5EF4-FFF2-40B4-BE49-F238E27FC236}">
                <a16:creationId xmlns:a16="http://schemas.microsoft.com/office/drawing/2014/main" id="{6C838018-6712-8320-E621-3E36BBF79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5" t="6409" b="4224"/>
          <a:stretch>
            <a:fillRect/>
          </a:stretch>
        </p:blipFill>
        <p:spPr bwMode="auto">
          <a:xfrm>
            <a:off x="762000" y="3073498"/>
            <a:ext cx="6869113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Imagen 4">
            <a:extLst>
              <a:ext uri="{FF2B5EF4-FFF2-40B4-BE49-F238E27FC236}">
                <a16:creationId xmlns:a16="http://schemas.microsoft.com/office/drawing/2014/main" id="{DB5A5851-44D4-1E47-DC6E-5332A273B8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54" r="13264"/>
          <a:stretch>
            <a:fillRect/>
          </a:stretch>
        </p:blipFill>
        <p:spPr bwMode="auto">
          <a:xfrm>
            <a:off x="7842250" y="3073498"/>
            <a:ext cx="3325813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3" name="CuadroTexto 6">
            <a:extLst>
              <a:ext uri="{FF2B5EF4-FFF2-40B4-BE49-F238E27FC236}">
                <a16:creationId xmlns:a16="http://schemas.microsoft.com/office/drawing/2014/main" id="{8B70BAA3-4319-BDEF-DEEC-73DB82481C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42248" y="4707256"/>
            <a:ext cx="3325813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b="1" i="1" dirty="0">
                <a:solidFill>
                  <a:schemeClr val="accent1"/>
                </a:solidFill>
              </a:rPr>
              <a:t>Barrios, V. et al. Real-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World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Attainment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of</a:t>
            </a:r>
            <a:r>
              <a:rPr lang="es-ES" altLang="es-ES" sz="700" b="1" i="1" dirty="0">
                <a:solidFill>
                  <a:schemeClr val="accent1"/>
                </a:solidFill>
              </a:rPr>
              <a:t> Low-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Density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Lipoprotein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Cholesterol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Goals</a:t>
            </a:r>
            <a:r>
              <a:rPr lang="es-ES" altLang="es-ES" sz="700" b="1" i="1" dirty="0">
                <a:solidFill>
                  <a:schemeClr val="accent1"/>
                </a:solidFill>
              </a:rPr>
              <a:t> in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Patients</a:t>
            </a:r>
            <a:r>
              <a:rPr lang="es-ES" altLang="es-ES" sz="700" b="1" i="1" dirty="0">
                <a:solidFill>
                  <a:schemeClr val="accent1"/>
                </a:solidFill>
              </a:rPr>
              <a:t> at High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Risk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of</a:t>
            </a:r>
            <a:r>
              <a:rPr lang="es-ES" altLang="es-ES" sz="700" b="1" i="1" dirty="0">
                <a:solidFill>
                  <a:schemeClr val="accent1"/>
                </a:solidFill>
              </a:rPr>
              <a:t> Cardiovascular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Disease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Treated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with</a:t>
            </a:r>
            <a:r>
              <a:rPr lang="es-ES" altLang="es-ES" sz="700" b="1" i="1" dirty="0">
                <a:solidFill>
                  <a:schemeClr val="accent1"/>
                </a:solidFill>
              </a:rPr>
              <a:t> High-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Intensity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Statins</a:t>
            </a:r>
            <a:r>
              <a:rPr lang="es-ES" altLang="es-ES" sz="700" b="1" i="1" dirty="0">
                <a:solidFill>
                  <a:schemeClr val="accent1"/>
                </a:solidFill>
              </a:rPr>
              <a:t>: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The</a:t>
            </a:r>
            <a:r>
              <a:rPr lang="es-ES" altLang="es-ES" sz="700" b="1" i="1" dirty="0">
                <a:solidFill>
                  <a:schemeClr val="accent1"/>
                </a:solidFill>
              </a:rPr>
              <a:t> TERESA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Study</a:t>
            </a:r>
            <a:r>
              <a:rPr lang="es-ES" altLang="es-ES" sz="700" b="1" i="1" dirty="0">
                <a:solidFill>
                  <a:schemeClr val="accent1"/>
                </a:solidFill>
              </a:rPr>
              <a:t>. J Clin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Med</a:t>
            </a:r>
            <a:r>
              <a:rPr lang="es-ES" altLang="es-ES" sz="700" b="1" i="1" dirty="0">
                <a:solidFill>
                  <a:schemeClr val="accent1"/>
                </a:solidFill>
              </a:rPr>
              <a:t>. </a:t>
            </a:r>
            <a:r>
              <a:rPr lang="en-US" altLang="es-ES" sz="700" b="1" i="1" dirty="0">
                <a:solidFill>
                  <a:schemeClr val="accent1"/>
                </a:solidFill>
              </a:rPr>
              <a:t>2023;12(9):3187; </a:t>
            </a:r>
            <a:r>
              <a:rPr lang="en-US" altLang="es-ES" sz="700" b="1" i="1" dirty="0" err="1">
                <a:solidFill>
                  <a:schemeClr val="accent1"/>
                </a:solidFill>
              </a:rPr>
              <a:t>doi</a:t>
            </a:r>
            <a:r>
              <a:rPr lang="en-US" altLang="es-ES" sz="700" b="1" i="1" dirty="0">
                <a:solidFill>
                  <a:schemeClr val="accent1"/>
                </a:solidFill>
              </a:rPr>
              <a:t>: </a:t>
            </a:r>
            <a:r>
              <a:rPr lang="es-ES" altLang="es-ES" sz="700" b="1" i="1" dirty="0">
                <a:solidFill>
                  <a:schemeClr val="accent1"/>
                </a:solidFill>
              </a:rPr>
              <a:t>10.3390/jcm12093187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9498707-4E69-DB2B-23DE-BD403C2AF43C}"/>
              </a:ext>
            </a:extLst>
          </p:cNvPr>
          <p:cNvSpPr txBox="1"/>
          <p:nvPr/>
        </p:nvSpPr>
        <p:spPr>
          <a:xfrm>
            <a:off x="2679654" y="6414086"/>
            <a:ext cx="612466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s-ES"/>
            </a:defPPr>
            <a:lvl1pPr algn="ctr">
              <a:lnSpc>
                <a:spcPct val="100000"/>
              </a:lnSpc>
              <a:spcBef>
                <a:spcPct val="0"/>
              </a:spcBef>
              <a:buFontTx/>
              <a:buNone/>
              <a:defRPr sz="1600" b="1">
                <a:solidFill>
                  <a:srgbClr val="0070C0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sz="1100" dirty="0">
                <a:solidFill>
                  <a:schemeClr val="tx1">
                    <a:lumMod val="50000"/>
                  </a:schemeClr>
                </a:solidFill>
              </a:rPr>
              <a:t>Estudio patrocinado por Almirall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A813DE1-519A-939F-A4E8-929A19D295DA}"/>
              </a:ext>
            </a:extLst>
          </p:cNvPr>
          <p:cNvSpPr txBox="1"/>
          <p:nvPr/>
        </p:nvSpPr>
        <p:spPr>
          <a:xfrm>
            <a:off x="7842249" y="4074156"/>
            <a:ext cx="332581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*Establecidas por las guías ESC/EAS 2019; Abreviaturas: </a:t>
            </a:r>
            <a:r>
              <a:rPr lang="es-ES" sz="900" dirty="0" err="1">
                <a:solidFill>
                  <a:schemeClr val="tx1">
                    <a:lumMod val="50000"/>
                  </a:schemeClr>
                </a:solidFill>
              </a:rPr>
              <a:t>cLDL</a:t>
            </a:r>
            <a:r>
              <a:rPr lang="es-ES" sz="900" dirty="0">
                <a:solidFill>
                  <a:schemeClr val="tx1">
                    <a:lumMod val="50000"/>
                  </a:schemeClr>
                </a:solidFill>
              </a:rPr>
              <a:t>, colesterol asociado a lipoproteínas de baja densidad; CV, Cardiovascular; RCV, Riesgo cardiovascular.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5BBB7E10-D0CB-DC80-9CA0-25A4EA0A4F00}"/>
              </a:ext>
            </a:extLst>
          </p:cNvPr>
          <p:cNvSpPr/>
          <p:nvPr/>
        </p:nvSpPr>
        <p:spPr>
          <a:xfrm>
            <a:off x="466725" y="811213"/>
            <a:ext cx="11337925" cy="56991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 fontScale="925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Cóm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lograr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l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consecución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lo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bjetivo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terapéutico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?  </a:t>
            </a:r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9F245B28-EB5E-C57E-186C-55A168F6FB64}"/>
              </a:ext>
            </a:extLst>
          </p:cNvPr>
          <p:cNvGraphicFramePr/>
          <p:nvPr/>
        </p:nvGraphicFramePr>
        <p:xfrm>
          <a:off x="1515872" y="1764686"/>
          <a:ext cx="9160256" cy="42821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3B81E8FF-AFE6-AD8F-B05C-7BC30D2CB44C}"/>
              </a:ext>
            </a:extLst>
          </p:cNvPr>
          <p:cNvSpPr txBox="1">
            <a:spLocks/>
          </p:cNvSpPr>
          <p:nvPr/>
        </p:nvSpPr>
        <p:spPr>
          <a:xfrm>
            <a:off x="862013" y="1535113"/>
            <a:ext cx="4322762" cy="368300"/>
          </a:xfrm>
          <a:prstGeom prst="rect">
            <a:avLst/>
          </a:prstGeom>
        </p:spPr>
        <p:txBody>
          <a:bodyPr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defRPr/>
            </a:pPr>
            <a:r>
              <a:rPr lang="es-ES" sz="2000" b="1" dirty="0">
                <a:solidFill>
                  <a:srgbClr val="F39000"/>
                </a:solidFill>
                <a:latin typeface="Gadugi" panose="020B0502040204020203" pitchFamily="34" charset="0"/>
                <a:ea typeface="Gadugi" panose="020B0502040204020203" pitchFamily="34" charset="0"/>
                <a:cs typeface="+mn-cs"/>
              </a:rPr>
              <a:t>El RCV depende de varios factores:</a:t>
            </a:r>
          </a:p>
        </p:txBody>
      </p:sp>
      <p:sp>
        <p:nvSpPr>
          <p:cNvPr id="11267" name="CuadroTexto 3">
            <a:extLst>
              <a:ext uri="{FF2B5EF4-FFF2-40B4-BE49-F238E27FC236}">
                <a16:creationId xmlns:a16="http://schemas.microsoft.com/office/drawing/2014/main" id="{558F5602-747A-3F9E-6E14-454F5B1F49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59463" y="2122488"/>
            <a:ext cx="55514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600">
                <a:solidFill>
                  <a:schemeClr val="accent1"/>
                </a:solidFill>
              </a:rPr>
              <a:t>Conocer el RCV para definir el objetivo terapéutico del paciente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DFDDAB9-8AA4-B0C3-2DC1-C9BAE274BFBC}"/>
              </a:ext>
            </a:extLst>
          </p:cNvPr>
          <p:cNvSpPr txBox="1"/>
          <p:nvPr/>
        </p:nvSpPr>
        <p:spPr>
          <a:xfrm>
            <a:off x="8262938" y="2555875"/>
            <a:ext cx="2403475" cy="9890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indent="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aseline="0">
                <a:solidFill>
                  <a:schemeClr val="accent1"/>
                </a:solidFill>
              </a:defRPr>
            </a:lvl1pPr>
            <a:lvl2pPr marL="685783" lvl="1" indent="-228594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defRPr/>
            </a:pPr>
            <a:r>
              <a:rPr lang="es-ES" sz="1400" b="1" dirty="0"/>
              <a:t>SCORE2 (&lt;70 años)</a:t>
            </a:r>
          </a:p>
          <a:p>
            <a:pPr>
              <a:defRPr/>
            </a:pPr>
            <a:r>
              <a:rPr lang="es-ES" sz="1400" b="1" dirty="0"/>
              <a:t>SCORE2-OP (≥ 70 años)</a:t>
            </a:r>
          </a:p>
          <a:p>
            <a:pPr>
              <a:defRPr/>
            </a:pPr>
            <a:r>
              <a:rPr lang="es-ES" sz="1400" b="1" dirty="0"/>
              <a:t>SCORE2-Diabetes</a:t>
            </a:r>
          </a:p>
        </p:txBody>
      </p:sp>
      <p:pic>
        <p:nvPicPr>
          <p:cNvPr id="11269" name="Imagen 6">
            <a:extLst>
              <a:ext uri="{FF2B5EF4-FFF2-40B4-BE49-F238E27FC236}">
                <a16:creationId xmlns:a16="http://schemas.microsoft.com/office/drawing/2014/main" id="{DE8FCAEE-E716-A4D6-3937-3D169D8A31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988" y="4094163"/>
            <a:ext cx="4078287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0" name="CuadroTexto 7">
            <a:extLst>
              <a:ext uri="{FF2B5EF4-FFF2-40B4-BE49-F238E27FC236}">
                <a16:creationId xmlns:a16="http://schemas.microsoft.com/office/drawing/2014/main" id="{E77BBC80-3E83-D313-6F0E-44AA096D16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988" y="5757863"/>
            <a:ext cx="49736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200">
                <a:solidFill>
                  <a:schemeClr val="accent1"/>
                </a:solidFill>
              </a:rPr>
              <a:t>Guía ESC/EAS 2019 sobre el tratamiento de las dislipemias</a:t>
            </a:r>
          </a:p>
        </p:txBody>
      </p:sp>
      <p:sp>
        <p:nvSpPr>
          <p:cNvPr id="11271" name="CuadroTexto 8">
            <a:extLst>
              <a:ext uri="{FF2B5EF4-FFF2-40B4-BE49-F238E27FC236}">
                <a16:creationId xmlns:a16="http://schemas.microsoft.com/office/drawing/2014/main" id="{E9D8978A-3BC5-5151-9578-A0FD8A8A88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987" y="6035675"/>
            <a:ext cx="47990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i="1" dirty="0">
                <a:solidFill>
                  <a:schemeClr val="accent1"/>
                </a:solidFill>
              </a:rPr>
              <a:t>Mach F. et at, Guía ESC/EAS 2019 sobre el tratamiento de las dislipemias: modificación de los lípidos para reducir el riesgo cardiovascular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Rev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Esp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Cardiol</a:t>
            </a:r>
            <a:r>
              <a:rPr lang="es-ES" altLang="es-ES" sz="700" i="1" dirty="0">
                <a:solidFill>
                  <a:schemeClr val="accent1"/>
                </a:solidFill>
              </a:rPr>
              <a:t>. 2020;73(5):403.e1–403.e70, doi.org/10.1016/j.recesp.2019.11.009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5ACB958-59FF-394B-968B-51937391EDAF}"/>
              </a:ext>
            </a:extLst>
          </p:cNvPr>
          <p:cNvSpPr txBox="1"/>
          <p:nvPr/>
        </p:nvSpPr>
        <p:spPr>
          <a:xfrm>
            <a:off x="6180138" y="1525588"/>
            <a:ext cx="4662487" cy="46037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¿Cómo se calcula el RCV?</a:t>
            </a:r>
          </a:p>
        </p:txBody>
      </p:sp>
      <p:pic>
        <p:nvPicPr>
          <p:cNvPr id="11273" name="Picture 2" descr="‎ESC CVD Risk Calculation on the App Store">
            <a:extLst>
              <a:ext uri="{FF2B5EF4-FFF2-40B4-BE49-F238E27FC236}">
                <a16:creationId xmlns:a16="http://schemas.microsoft.com/office/drawing/2014/main" id="{ABBE342E-2669-F4C7-9D25-0BF300A8F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2600325"/>
            <a:ext cx="1162050" cy="93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4" name="CuadroTexto 11">
            <a:extLst>
              <a:ext uri="{FF2B5EF4-FFF2-40B4-BE49-F238E27FC236}">
                <a16:creationId xmlns:a16="http://schemas.microsoft.com/office/drawing/2014/main" id="{A26FCF90-9E63-165A-7D93-3676F3A212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6150" y="2917825"/>
            <a:ext cx="6905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600" b="1">
                <a:solidFill>
                  <a:schemeClr val="accent1"/>
                </a:solidFill>
              </a:rPr>
              <a:t>APP: </a:t>
            </a:r>
          </a:p>
        </p:txBody>
      </p:sp>
      <p:sp>
        <p:nvSpPr>
          <p:cNvPr id="11275" name="CuadroTexto 12">
            <a:extLst>
              <a:ext uri="{FF2B5EF4-FFF2-40B4-BE49-F238E27FC236}">
                <a16:creationId xmlns:a16="http://schemas.microsoft.com/office/drawing/2014/main" id="{8808E18D-4452-FC9C-63F9-69300E69E1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50" y="3770313"/>
            <a:ext cx="51752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200" b="1">
                <a:solidFill>
                  <a:srgbClr val="FF0000"/>
                </a:solidFill>
              </a:rPr>
              <a:t>No se aplica a pacientes con ECVA establecida y de prevención 2ª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F20E71F-EB8E-B610-C765-DE9F9B5BD7FB}"/>
              </a:ext>
            </a:extLst>
          </p:cNvPr>
          <p:cNvSpPr txBox="1"/>
          <p:nvPr/>
        </p:nvSpPr>
        <p:spPr>
          <a:xfrm>
            <a:off x="968375" y="2119313"/>
            <a:ext cx="4105275" cy="3381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s-ES" sz="1600" b="1" dirty="0">
                <a:solidFill>
                  <a:schemeClr val="accent1"/>
                </a:solidFill>
              </a:rPr>
              <a:t>Niveles de LDL-c y colesterol total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5D6D5FD-841C-9B3C-CC22-DAE5C18EAAB3}"/>
              </a:ext>
            </a:extLst>
          </p:cNvPr>
          <p:cNvSpPr txBox="1"/>
          <p:nvPr/>
        </p:nvSpPr>
        <p:spPr>
          <a:xfrm>
            <a:off x="968375" y="2528888"/>
            <a:ext cx="4105275" cy="3381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s-ES" sz="1600" b="1" dirty="0">
                <a:solidFill>
                  <a:schemeClr val="accent1"/>
                </a:solidFill>
              </a:rPr>
              <a:t>Edad y sex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8980670-A5B0-E760-A18D-7C6B0496AE87}"/>
              </a:ext>
            </a:extLst>
          </p:cNvPr>
          <p:cNvSpPr txBox="1"/>
          <p:nvPr/>
        </p:nvSpPr>
        <p:spPr>
          <a:xfrm>
            <a:off x="968375" y="2927350"/>
            <a:ext cx="4105275" cy="1816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s-ES" sz="1600" b="1" dirty="0">
                <a:solidFill>
                  <a:schemeClr val="accent1"/>
                </a:solidFill>
              </a:rPr>
              <a:t>Presencia de otras comorbilidades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Diabetes mellitus tipo 2 (DM2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Hipertensión arterial (HTA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Enfermedad renal crónica (ERC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Hiperlipidemia familia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Enfermedad arterial periférica (EAP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Enfermedad CV establecida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E1FF1CF-CC43-9B57-7897-D99ECB869358}"/>
              </a:ext>
            </a:extLst>
          </p:cNvPr>
          <p:cNvSpPr txBox="1"/>
          <p:nvPr/>
        </p:nvSpPr>
        <p:spPr>
          <a:xfrm>
            <a:off x="968375" y="4824413"/>
            <a:ext cx="4105275" cy="13234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600" b="1" dirty="0">
                <a:solidFill>
                  <a:schemeClr val="accent1"/>
                </a:solidFill>
              </a:rPr>
              <a:t>Estilo de vida y otros factores modificables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Fumado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Sedentario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chemeClr val="accent1"/>
                </a:solidFill>
              </a:rPr>
              <a:t>Obesidad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7D1321B-CA39-AB73-87BB-C2773BB0CC10}"/>
              </a:ext>
            </a:extLst>
          </p:cNvPr>
          <p:cNvSpPr/>
          <p:nvPr/>
        </p:nvSpPr>
        <p:spPr>
          <a:xfrm>
            <a:off x="581025" y="749300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85000" lnSpcReduction="100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1. Identificar correctamente los pacientes de RCV alto/muy alto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2BEE7214-FCEB-B754-AAFA-61EA6F80AC22}"/>
              </a:ext>
            </a:extLst>
          </p:cNvPr>
          <p:cNvSpPr txBox="1"/>
          <p:nvPr/>
        </p:nvSpPr>
        <p:spPr>
          <a:xfrm>
            <a:off x="8799967" y="2269514"/>
            <a:ext cx="2693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700" b="0" i="1" dirty="0" err="1">
                <a:solidFill>
                  <a:schemeClr val="accent1"/>
                </a:solidFill>
                <a:effectLst/>
              </a:rPr>
              <a:t>Mazzolai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L, et al. 2024 ESC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Guidelines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for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the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management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of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peripheral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arterial and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aortic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diseases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European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Heart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Journal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Volume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45,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Issue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36, 21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September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2024, Pages 3538–3700, doi.org/10.1093/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/ehae179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7859DC7-92B5-1C04-65D4-42561ACF8DB5}"/>
              </a:ext>
            </a:extLst>
          </p:cNvPr>
          <p:cNvSpPr txBox="1"/>
          <p:nvPr/>
        </p:nvSpPr>
        <p:spPr>
          <a:xfrm>
            <a:off x="8693860" y="1728307"/>
            <a:ext cx="26293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>
                <a:solidFill>
                  <a:schemeClr val="accent1"/>
                </a:solidFill>
              </a:rPr>
              <a:t>Guía ESC 2024 Enfermedades arteriales periféricas y aórtica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99D7728-3261-E3A7-7B44-4F58BE982387}"/>
              </a:ext>
            </a:extLst>
          </p:cNvPr>
          <p:cNvSpPr txBox="1"/>
          <p:nvPr/>
        </p:nvSpPr>
        <p:spPr>
          <a:xfrm>
            <a:off x="4800888" y="1368051"/>
            <a:ext cx="3672850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 b="1">
                <a:solidFill>
                  <a:schemeClr val="accent1"/>
                </a:solidFill>
              </a:rPr>
              <a:t>Pacientes con EAP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B59F279-14FB-078D-6FB0-C64C4CC0DB72}"/>
              </a:ext>
            </a:extLst>
          </p:cNvPr>
          <p:cNvSpPr txBox="1"/>
          <p:nvPr/>
        </p:nvSpPr>
        <p:spPr>
          <a:xfrm>
            <a:off x="458749" y="1368051"/>
            <a:ext cx="3672850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 b="1">
                <a:solidFill>
                  <a:schemeClr val="accent1"/>
                </a:solidFill>
              </a:rPr>
              <a:t>Pacientes con Diabete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89BB8E9-01C7-9A6A-59FD-4AEA99FD9C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749" y="1728307"/>
            <a:ext cx="3848511" cy="2303686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85CD6085-065D-48C0-7BCB-139124459995}"/>
              </a:ext>
            </a:extLst>
          </p:cNvPr>
          <p:cNvSpPr txBox="1"/>
          <p:nvPr/>
        </p:nvSpPr>
        <p:spPr>
          <a:xfrm>
            <a:off x="8716196" y="3293994"/>
            <a:ext cx="25847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200" dirty="0">
                <a:solidFill>
                  <a:schemeClr val="accent1"/>
                </a:solidFill>
              </a:rPr>
              <a:t>Guía ESC/EAS 2019 sobre el tratamiento de las dislipemias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D219970-D8EC-5237-1DF4-7C4A99AEFE6E}"/>
              </a:ext>
            </a:extLst>
          </p:cNvPr>
          <p:cNvSpPr txBox="1"/>
          <p:nvPr/>
        </p:nvSpPr>
        <p:spPr>
          <a:xfrm>
            <a:off x="8799966" y="3755659"/>
            <a:ext cx="2693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700" b="0" i="1" dirty="0">
                <a:solidFill>
                  <a:schemeClr val="accent1"/>
                </a:solidFill>
                <a:effectLst/>
              </a:rPr>
              <a:t>Mach F. et at, Guía ESC/EAS 2019 sobre el tratamiento de las dislipemias: modificación de los lípidos para reducir el riesgo cardiovascular.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1B13669A-9D6A-3B54-D1D4-B4E91160CC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0089" y="1728307"/>
            <a:ext cx="3729721" cy="2751352"/>
          </a:xfrm>
          <a:prstGeom prst="rect">
            <a:avLst/>
          </a:prstGeom>
        </p:spPr>
      </p:pic>
      <p:grpSp>
        <p:nvGrpSpPr>
          <p:cNvPr id="27" name="Grupo 26">
            <a:extLst>
              <a:ext uri="{FF2B5EF4-FFF2-40B4-BE49-F238E27FC236}">
                <a16:creationId xmlns:a16="http://schemas.microsoft.com/office/drawing/2014/main" id="{28529F19-2114-1356-26CF-D4742827241C}"/>
              </a:ext>
            </a:extLst>
          </p:cNvPr>
          <p:cNvGrpSpPr/>
          <p:nvPr/>
        </p:nvGrpSpPr>
        <p:grpSpPr>
          <a:xfrm>
            <a:off x="564008" y="4234057"/>
            <a:ext cx="3773513" cy="2121682"/>
            <a:chOff x="4034789" y="1451310"/>
            <a:chExt cx="3773513" cy="2121682"/>
          </a:xfrm>
        </p:grpSpPr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540AAD55-FF6B-D99D-51AC-10A5D3C7E22D}"/>
                </a:ext>
              </a:extLst>
            </p:cNvPr>
            <p:cNvSpPr txBox="1"/>
            <p:nvPr/>
          </p:nvSpPr>
          <p:spPr>
            <a:xfrm>
              <a:off x="4085120" y="1451310"/>
              <a:ext cx="3672850" cy="27699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4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>
                  <a:solidFill>
                    <a:schemeClr val="accent1"/>
                  </a:solidFill>
                </a:rPr>
                <a:t>Pacientes con Enfermedad Renal Crónica</a:t>
              </a:r>
            </a:p>
          </p:txBody>
        </p:sp>
        <p:pic>
          <p:nvPicPr>
            <p:cNvPr id="29" name="Imagen 28">
              <a:extLst>
                <a:ext uri="{FF2B5EF4-FFF2-40B4-BE49-F238E27FC236}">
                  <a16:creationId xmlns:a16="http://schemas.microsoft.com/office/drawing/2014/main" id="{DA26BD98-9E87-753B-99C3-04811C0D7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34789" y="1843465"/>
              <a:ext cx="3773513" cy="1729527"/>
            </a:xfrm>
            <a:prstGeom prst="rect">
              <a:avLst/>
            </a:prstGeom>
          </p:spPr>
        </p:pic>
      </p:grpSp>
      <p:sp>
        <p:nvSpPr>
          <p:cNvPr id="31" name="CuadroTexto 30">
            <a:extLst>
              <a:ext uri="{FF2B5EF4-FFF2-40B4-BE49-F238E27FC236}">
                <a16:creationId xmlns:a16="http://schemas.microsoft.com/office/drawing/2014/main" id="{3ED66429-4B9C-1AA7-1299-F1DA90586721}"/>
              </a:ext>
            </a:extLst>
          </p:cNvPr>
          <p:cNvSpPr txBox="1"/>
          <p:nvPr/>
        </p:nvSpPr>
        <p:spPr>
          <a:xfrm>
            <a:off x="4810089" y="4643870"/>
            <a:ext cx="6683221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 b="1">
                <a:solidFill>
                  <a:schemeClr val="accent1"/>
                </a:solidFill>
              </a:rPr>
              <a:t>Pacientes mayores ≥65 años</a:t>
            </a: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id="{D8B5EBAB-EC00-2A57-23AD-4DC6A1BFE9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0888" y="5015755"/>
            <a:ext cx="7128839" cy="1245697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3B8780C8-53E1-7238-551C-0B44E86DBF80}"/>
              </a:ext>
            </a:extLst>
          </p:cNvPr>
          <p:cNvSpPr/>
          <p:nvPr/>
        </p:nvSpPr>
        <p:spPr>
          <a:xfrm>
            <a:off x="458749" y="544446"/>
            <a:ext cx="11470978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85000" lnSpcReduction="100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1. Identificar correctamente los pacientes de RCV alto/muy alto</a:t>
            </a:r>
          </a:p>
        </p:txBody>
      </p:sp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E3B9183F-BD99-F205-8A7F-BD5BB101A004}"/>
              </a:ext>
            </a:extLst>
          </p:cNvPr>
          <p:cNvCxnSpPr>
            <a:cxnSpLocks/>
          </p:cNvCxnSpPr>
          <p:nvPr/>
        </p:nvCxnSpPr>
        <p:spPr>
          <a:xfrm flipV="1">
            <a:off x="175369" y="2455453"/>
            <a:ext cx="288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6E50EBF0-085C-E579-A170-F9DD93DBF625}"/>
              </a:ext>
            </a:extLst>
          </p:cNvPr>
          <p:cNvCxnSpPr>
            <a:cxnSpLocks/>
          </p:cNvCxnSpPr>
          <p:nvPr/>
        </p:nvCxnSpPr>
        <p:spPr>
          <a:xfrm flipV="1">
            <a:off x="175369" y="3243861"/>
            <a:ext cx="288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9075D1B4-F958-9A7E-591F-0CE6CA37BD01}"/>
              </a:ext>
            </a:extLst>
          </p:cNvPr>
          <p:cNvCxnSpPr>
            <a:cxnSpLocks/>
          </p:cNvCxnSpPr>
          <p:nvPr/>
        </p:nvCxnSpPr>
        <p:spPr>
          <a:xfrm flipV="1">
            <a:off x="4397029" y="2835849"/>
            <a:ext cx="288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" name="Conector recto de flecha 9">
            <a:extLst>
              <a:ext uri="{FF2B5EF4-FFF2-40B4-BE49-F238E27FC236}">
                <a16:creationId xmlns:a16="http://schemas.microsoft.com/office/drawing/2014/main" id="{C0007C41-F463-CF75-9CA5-AB40E9EA78B0}"/>
              </a:ext>
            </a:extLst>
          </p:cNvPr>
          <p:cNvCxnSpPr>
            <a:cxnSpLocks/>
          </p:cNvCxnSpPr>
          <p:nvPr/>
        </p:nvCxnSpPr>
        <p:spPr>
          <a:xfrm flipV="1">
            <a:off x="175369" y="5490975"/>
            <a:ext cx="288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2EAA4F6E-B32F-D87A-6058-40243F5DEB53}"/>
              </a:ext>
            </a:extLst>
          </p:cNvPr>
          <p:cNvCxnSpPr>
            <a:cxnSpLocks/>
          </p:cNvCxnSpPr>
          <p:nvPr/>
        </p:nvCxnSpPr>
        <p:spPr>
          <a:xfrm flipV="1">
            <a:off x="175369" y="6005513"/>
            <a:ext cx="288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17CBD075-EAC0-84FC-2B15-811BA0DC4DED}"/>
              </a:ext>
            </a:extLst>
          </p:cNvPr>
          <p:cNvCxnSpPr>
            <a:cxnSpLocks/>
          </p:cNvCxnSpPr>
          <p:nvPr/>
        </p:nvCxnSpPr>
        <p:spPr>
          <a:xfrm flipV="1">
            <a:off x="4397029" y="5453771"/>
            <a:ext cx="288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282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156AB1-E429-9754-8857-D7A3382D3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DD6C453C-5808-512C-CDC2-4831A5778265}"/>
              </a:ext>
            </a:extLst>
          </p:cNvPr>
          <p:cNvSpPr/>
          <p:nvPr/>
        </p:nvSpPr>
        <p:spPr>
          <a:xfrm>
            <a:off x="258923" y="1423024"/>
            <a:ext cx="11688435" cy="216598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074" name="Picture 2" descr="Enfermedad arterial periférica | Vector Premium">
            <a:extLst>
              <a:ext uri="{FF2B5EF4-FFF2-40B4-BE49-F238E27FC236}">
                <a16:creationId xmlns:a16="http://schemas.microsoft.com/office/drawing/2014/main" id="{86722DB7-19C6-3811-5290-5CD65ADFC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3366" y="1625939"/>
            <a:ext cx="1834314" cy="183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75F4FD28-223E-4B9E-5358-ADBA65CC606C}"/>
              </a:ext>
            </a:extLst>
          </p:cNvPr>
          <p:cNvSpPr/>
          <p:nvPr/>
        </p:nvSpPr>
        <p:spPr>
          <a:xfrm>
            <a:off x="9396664" y="1779873"/>
            <a:ext cx="1888772" cy="1494054"/>
          </a:xfrm>
          <a:prstGeom prst="roundRect">
            <a:avLst>
              <a:gd name="adj" fmla="val 10000"/>
            </a:avLst>
          </a:prstGeom>
          <a:blipFill rotWithShape="1">
            <a:blip r:embed="rId3"/>
            <a:srcRect/>
            <a:stretch>
              <a:fillRect l="-21000" r="-2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"/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57F7A347-F141-E34A-9681-C382E9C9E7E1}"/>
              </a:ext>
            </a:extLst>
          </p:cNvPr>
          <p:cNvSpPr/>
          <p:nvPr/>
        </p:nvSpPr>
        <p:spPr>
          <a:xfrm>
            <a:off x="541287" y="1604126"/>
            <a:ext cx="2250465" cy="1669801"/>
          </a:xfrm>
          <a:prstGeom prst="roundRect">
            <a:avLst>
              <a:gd name="adj" fmla="val 10000"/>
            </a:avLst>
          </a:prstGeom>
          <a:blipFill rotWithShape="1">
            <a:blip r:embed="rId4"/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"/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8E69AEC5-15A0-F914-4058-0CA8EF55095B}"/>
              </a:ext>
            </a:extLst>
          </p:cNvPr>
          <p:cNvGrpSpPr/>
          <p:nvPr/>
        </p:nvGrpSpPr>
        <p:grpSpPr>
          <a:xfrm>
            <a:off x="554522" y="3589005"/>
            <a:ext cx="2367321" cy="2496717"/>
            <a:chOff x="243839" y="2438400"/>
            <a:chExt cx="2387600" cy="2980266"/>
          </a:xfrm>
        </p:grpSpPr>
        <p:sp>
          <p:nvSpPr>
            <p:cNvPr id="9" name="Rectángulo: esquinas superiores redondeadas 8">
              <a:extLst>
                <a:ext uri="{FF2B5EF4-FFF2-40B4-BE49-F238E27FC236}">
                  <a16:creationId xmlns:a16="http://schemas.microsoft.com/office/drawing/2014/main" id="{701D59B7-450C-684D-A3D2-22D895D4082A}"/>
                </a:ext>
              </a:extLst>
            </p:cNvPr>
            <p:cNvSpPr/>
            <p:nvPr/>
          </p:nvSpPr>
          <p:spPr>
            <a:xfrm rot="10800000">
              <a:off x="243839" y="2438400"/>
              <a:ext cx="2387600" cy="2980266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s-ES"/>
            </a:p>
          </p:txBody>
        </p:sp>
        <p:sp>
          <p:nvSpPr>
            <p:cNvPr id="10" name="Rectángulo: esquinas superiores redondeadas 4">
              <a:extLst>
                <a:ext uri="{FF2B5EF4-FFF2-40B4-BE49-F238E27FC236}">
                  <a16:creationId xmlns:a16="http://schemas.microsoft.com/office/drawing/2014/main" id="{4D7B7BD1-7CAC-DABC-C542-58F9242965AC}"/>
                </a:ext>
              </a:extLst>
            </p:cNvPr>
            <p:cNvSpPr txBox="1"/>
            <p:nvPr/>
          </p:nvSpPr>
          <p:spPr>
            <a:xfrm rot="21600000">
              <a:off x="317266" y="2438400"/>
              <a:ext cx="2240746" cy="29068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8920" tIns="248920" rIns="248920" bIns="248920" numCol="1" spcCol="1270" anchor="t" anchorCtr="0">
              <a:noAutofit/>
            </a:bodyPr>
            <a:lstStyle/>
            <a:p>
              <a:pPr marL="0" lvl="0" indent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_tradnl" sz="3200" kern="1200"/>
                <a:t>Paciente con DM2</a:t>
              </a:r>
              <a:endParaRPr lang="es-ES" sz="3200" kern="1200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6F8BB4C0-B196-DE69-FED4-2D9BBD59D1C3}"/>
              </a:ext>
            </a:extLst>
          </p:cNvPr>
          <p:cNvGrpSpPr/>
          <p:nvPr/>
        </p:nvGrpSpPr>
        <p:grpSpPr>
          <a:xfrm>
            <a:off x="9396664" y="3589005"/>
            <a:ext cx="2371551" cy="2496717"/>
            <a:chOff x="5496559" y="2438400"/>
            <a:chExt cx="2387600" cy="2980266"/>
          </a:xfrm>
          <a:solidFill>
            <a:schemeClr val="tx2">
              <a:lumMod val="75000"/>
            </a:schemeClr>
          </a:solidFill>
        </p:grpSpPr>
        <p:sp>
          <p:nvSpPr>
            <p:cNvPr id="18" name="Rectángulo: esquinas superiores redondeadas 17">
              <a:extLst>
                <a:ext uri="{FF2B5EF4-FFF2-40B4-BE49-F238E27FC236}">
                  <a16:creationId xmlns:a16="http://schemas.microsoft.com/office/drawing/2014/main" id="{D577B50A-2FFF-B422-FEA2-98698DD95375}"/>
                </a:ext>
              </a:extLst>
            </p:cNvPr>
            <p:cNvSpPr/>
            <p:nvPr/>
          </p:nvSpPr>
          <p:spPr>
            <a:xfrm rot="10800000">
              <a:off x="5496559" y="2438400"/>
              <a:ext cx="2387600" cy="2980266"/>
            </a:xfrm>
            <a:prstGeom prst="round2SameRect">
              <a:avLst>
                <a:gd name="adj1" fmla="val 10500"/>
                <a:gd name="adj2" fmla="val 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s-ES"/>
            </a:p>
          </p:txBody>
        </p:sp>
        <p:sp>
          <p:nvSpPr>
            <p:cNvPr id="19" name="Rectángulo: esquinas superiores redondeadas 4">
              <a:extLst>
                <a:ext uri="{FF2B5EF4-FFF2-40B4-BE49-F238E27FC236}">
                  <a16:creationId xmlns:a16="http://schemas.microsoft.com/office/drawing/2014/main" id="{14844656-F585-8231-9388-0AF283A21582}"/>
                </a:ext>
              </a:extLst>
            </p:cNvPr>
            <p:cNvSpPr txBox="1"/>
            <p:nvPr/>
          </p:nvSpPr>
          <p:spPr>
            <a:xfrm>
              <a:off x="5690365" y="2463881"/>
              <a:ext cx="2046938" cy="275641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8920" tIns="248920" rIns="248920" bIns="248920" numCol="1" spcCol="1270" anchor="t" anchorCtr="0">
              <a:noAutofit/>
            </a:bodyPr>
            <a:lstStyle/>
            <a:p>
              <a:pPr marL="0" lvl="0" indent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_tradnl" sz="2400" kern="1200"/>
                <a:t>Paciente con evento previo</a:t>
              </a:r>
            </a:p>
            <a:p>
              <a:pPr marL="0" lvl="0" indent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_tradnl" sz="2400"/>
                <a:t>(</a:t>
              </a:r>
              <a:r>
                <a:rPr lang="es-ES_tradnl" sz="2400" err="1"/>
                <a:t>ECVAe</a:t>
              </a:r>
              <a:r>
                <a:rPr lang="es-ES_tradnl" sz="2400"/>
                <a:t>)</a:t>
              </a:r>
            </a:p>
          </p:txBody>
        </p:sp>
      </p:grpSp>
      <p:pic>
        <p:nvPicPr>
          <p:cNvPr id="8194" name="Picture 2" descr="Conoce qué es el Riesgo Cardiovascular | Asmet Salud EPS">
            <a:extLst>
              <a:ext uri="{FF2B5EF4-FFF2-40B4-BE49-F238E27FC236}">
                <a16:creationId xmlns:a16="http://schemas.microsoft.com/office/drawing/2014/main" id="{F609C264-4214-4D07-9251-BE8EF4AB0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1630" y="1690460"/>
            <a:ext cx="1888770" cy="1705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B4688917-20C1-AABA-940B-9A83DEA8FAC2}"/>
              </a:ext>
            </a:extLst>
          </p:cNvPr>
          <p:cNvGrpSpPr/>
          <p:nvPr/>
        </p:nvGrpSpPr>
        <p:grpSpPr>
          <a:xfrm>
            <a:off x="6753447" y="3589005"/>
            <a:ext cx="2221713" cy="2548738"/>
            <a:chOff x="5496559" y="2438400"/>
            <a:chExt cx="2387600" cy="2980266"/>
          </a:xfrm>
        </p:grpSpPr>
        <p:sp>
          <p:nvSpPr>
            <p:cNvPr id="21" name="Rectángulo: esquinas superiores redondeadas 20">
              <a:extLst>
                <a:ext uri="{FF2B5EF4-FFF2-40B4-BE49-F238E27FC236}">
                  <a16:creationId xmlns:a16="http://schemas.microsoft.com/office/drawing/2014/main" id="{71CD313A-035D-D466-F34F-398EE257330D}"/>
                </a:ext>
              </a:extLst>
            </p:cNvPr>
            <p:cNvSpPr/>
            <p:nvPr/>
          </p:nvSpPr>
          <p:spPr>
            <a:xfrm rot="10800000">
              <a:off x="5496559" y="2438400"/>
              <a:ext cx="2387600" cy="2980266"/>
            </a:xfrm>
            <a:prstGeom prst="round2SameRect">
              <a:avLst>
                <a:gd name="adj1" fmla="val 10500"/>
                <a:gd name="adj2" fmla="val 0"/>
              </a:avLst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s-ES"/>
            </a:p>
          </p:txBody>
        </p:sp>
        <p:sp>
          <p:nvSpPr>
            <p:cNvPr id="22" name="Rectángulo: esquinas superiores redondeadas 4">
              <a:extLst>
                <a:ext uri="{FF2B5EF4-FFF2-40B4-BE49-F238E27FC236}">
                  <a16:creationId xmlns:a16="http://schemas.microsoft.com/office/drawing/2014/main" id="{ACD4378F-8B3B-3D57-C8B3-908575536DCA}"/>
                </a:ext>
              </a:extLst>
            </p:cNvPr>
            <p:cNvSpPr txBox="1"/>
            <p:nvPr/>
          </p:nvSpPr>
          <p:spPr>
            <a:xfrm>
              <a:off x="5643259" y="2438400"/>
              <a:ext cx="2167473" cy="29068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8920" tIns="248920" rIns="248920" bIns="248920" numCol="1" spcCol="1270" anchor="t" anchorCtr="0">
              <a:noAutofit/>
            </a:bodyPr>
            <a:lstStyle/>
            <a:p>
              <a:pPr marL="0" lvl="0" indent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_tradnl" sz="2400" kern="1200"/>
                <a:t>Paciente joven aparentemente “sano”</a:t>
              </a: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3EA26196-0AC6-C94B-A7B7-0B603BF8C64B}"/>
              </a:ext>
            </a:extLst>
          </p:cNvPr>
          <p:cNvSpPr txBox="1"/>
          <p:nvPr/>
        </p:nvSpPr>
        <p:spPr>
          <a:xfrm>
            <a:off x="2249905" y="6400800"/>
            <a:ext cx="6460958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_tradnl" sz="1200" err="1"/>
              <a:t>ECVAe</a:t>
            </a:r>
            <a:r>
              <a:rPr lang="es-ES_tradnl" sz="1200"/>
              <a:t>: Enfermedad Cardiovascular establecida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829A36F9-354B-720A-ACE0-1ED3F297B094}"/>
              </a:ext>
            </a:extLst>
          </p:cNvPr>
          <p:cNvGrpSpPr/>
          <p:nvPr/>
        </p:nvGrpSpPr>
        <p:grpSpPr>
          <a:xfrm>
            <a:off x="3674634" y="3617792"/>
            <a:ext cx="2367321" cy="2496717"/>
            <a:chOff x="5496559" y="2438400"/>
            <a:chExt cx="2387600" cy="2980266"/>
          </a:xfrm>
          <a:solidFill>
            <a:srgbClr val="92D050"/>
          </a:solidFill>
        </p:grpSpPr>
        <p:sp>
          <p:nvSpPr>
            <p:cNvPr id="11" name="Rectángulo: esquinas superiores redondeadas 10">
              <a:extLst>
                <a:ext uri="{FF2B5EF4-FFF2-40B4-BE49-F238E27FC236}">
                  <a16:creationId xmlns:a16="http://schemas.microsoft.com/office/drawing/2014/main" id="{E7928104-13A6-FF70-F03C-0E4CDE365163}"/>
                </a:ext>
              </a:extLst>
            </p:cNvPr>
            <p:cNvSpPr/>
            <p:nvPr/>
          </p:nvSpPr>
          <p:spPr>
            <a:xfrm rot="10800000">
              <a:off x="5496559" y="2438400"/>
              <a:ext cx="2387600" cy="2980266"/>
            </a:xfrm>
            <a:prstGeom prst="round2SameRect">
              <a:avLst>
                <a:gd name="adj1" fmla="val 10500"/>
                <a:gd name="adj2" fmla="val 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s-ES"/>
            </a:p>
          </p:txBody>
        </p:sp>
        <p:sp>
          <p:nvSpPr>
            <p:cNvPr id="12" name="Rectángulo: esquinas superiores redondeadas 4">
              <a:extLst>
                <a:ext uri="{FF2B5EF4-FFF2-40B4-BE49-F238E27FC236}">
                  <a16:creationId xmlns:a16="http://schemas.microsoft.com/office/drawing/2014/main" id="{1C35345F-086E-E087-9896-B993256DBA7F}"/>
                </a:ext>
              </a:extLst>
            </p:cNvPr>
            <p:cNvSpPr txBox="1"/>
            <p:nvPr/>
          </p:nvSpPr>
          <p:spPr>
            <a:xfrm rot="21600000">
              <a:off x="5569986" y="2438400"/>
              <a:ext cx="2240746" cy="290683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8920" tIns="248920" rIns="248920" bIns="248920" numCol="1" spcCol="1270" anchor="t" anchorCtr="0">
              <a:noAutofit/>
            </a:bodyPr>
            <a:lstStyle/>
            <a:p>
              <a:pPr marL="0" lvl="0" indent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_tradnl" sz="2400" kern="1200"/>
                <a:t>Paciente con enfermedad arterial periférica</a:t>
              </a:r>
            </a:p>
            <a:p>
              <a:pPr marL="0" lvl="0" indent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_tradnl" sz="2400"/>
                <a:t>EAP</a:t>
              </a:r>
              <a:endParaRPr lang="es-ES_tradnl" sz="2400" kern="1200"/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402A7E86-8F88-DCA1-9E92-B0F5BF32917C}"/>
              </a:ext>
            </a:extLst>
          </p:cNvPr>
          <p:cNvSpPr/>
          <p:nvPr/>
        </p:nvSpPr>
        <p:spPr>
          <a:xfrm>
            <a:off x="434177" y="313765"/>
            <a:ext cx="11337925" cy="77619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21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1. Identificar correctamente los pacientes de RCV alto/muy alto:                           								Diferentes perfiles de pacientes </a:t>
            </a:r>
          </a:p>
        </p:txBody>
      </p:sp>
    </p:spTree>
    <p:extLst>
      <p:ext uri="{BB962C8B-B14F-4D97-AF65-F5344CB8AC3E}">
        <p14:creationId xmlns:p14="http://schemas.microsoft.com/office/powerpoint/2010/main" val="124090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A80FEB58-1CE6-ED05-EDA0-D9335A1EE667}"/>
              </a:ext>
            </a:extLst>
          </p:cNvPr>
          <p:cNvSpPr/>
          <p:nvPr/>
        </p:nvSpPr>
        <p:spPr>
          <a:xfrm>
            <a:off x="203496" y="1162666"/>
            <a:ext cx="11886904" cy="4778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iesgo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V alto: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aciente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on DM2</a:t>
            </a:r>
          </a:p>
        </p:txBody>
      </p:sp>
      <p:pic>
        <p:nvPicPr>
          <p:cNvPr id="8" name="Imagen 7" descr="Interfaz de usuario gráfica, Aplicación, Word&#10;&#10;Descripción generada automáticamente">
            <a:extLst>
              <a:ext uri="{FF2B5EF4-FFF2-40B4-BE49-F238E27FC236}">
                <a16:creationId xmlns:a16="http://schemas.microsoft.com/office/drawing/2014/main" id="{51A63C4A-24CB-D781-EC2C-C6198BA958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9" b="33595"/>
          <a:stretch/>
        </p:blipFill>
        <p:spPr>
          <a:xfrm>
            <a:off x="9290061" y="2715099"/>
            <a:ext cx="2702753" cy="3506407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A01B28BA-B2B0-863F-A90C-6CA8270965CF}"/>
              </a:ext>
            </a:extLst>
          </p:cNvPr>
          <p:cNvSpPr/>
          <p:nvPr/>
        </p:nvSpPr>
        <p:spPr>
          <a:xfrm>
            <a:off x="10098173" y="5042397"/>
            <a:ext cx="1155032" cy="1159920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2C30EDA-4D34-ABA2-4CAC-340157E0EA2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89" t="5513" r="18189" b="7395"/>
          <a:stretch/>
        </p:blipFill>
        <p:spPr>
          <a:xfrm>
            <a:off x="9290061" y="163475"/>
            <a:ext cx="2458734" cy="2476220"/>
          </a:xfrm>
          <a:prstGeom prst="ellipse">
            <a:avLst/>
          </a:prstGeom>
        </p:spPr>
      </p:pic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F8F2A337-614C-B72A-38E1-43BF1C87AEBB}"/>
              </a:ext>
            </a:extLst>
          </p:cNvPr>
          <p:cNvSpPr txBox="1">
            <a:spLocks/>
          </p:cNvSpPr>
          <p:nvPr/>
        </p:nvSpPr>
        <p:spPr>
          <a:xfrm>
            <a:off x="203495" y="1744579"/>
            <a:ext cx="8972550" cy="46080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67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tenga una EAP.</a:t>
            </a: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000" b="0" i="0" u="none" strike="noStrike" kern="1200" cap="none" spc="0" normalizeH="0" baseline="0" noProof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0CE5ED4-6247-0938-691A-8BDD5DDC71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531" y="1785367"/>
            <a:ext cx="1465014" cy="140094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694DFFB3-90D9-9663-D0F7-A7699C757A5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62545" y="1744580"/>
            <a:ext cx="3542508" cy="72189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232B25C-35C3-B21E-45E8-BC7ABC03C940}"/>
              </a:ext>
            </a:extLst>
          </p:cNvPr>
          <p:cNvSpPr txBox="1"/>
          <p:nvPr/>
        </p:nvSpPr>
        <p:spPr>
          <a:xfrm>
            <a:off x="1698634" y="2512428"/>
            <a:ext cx="3860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b="1" dirty="0">
                <a:solidFill>
                  <a:schemeClr val="accent5">
                    <a:lumMod val="75000"/>
                  </a:schemeClr>
                </a:solidFill>
              </a:rPr>
              <a:t>NOMBRE: LUCÍA / EDAD: 68 AÑOS</a:t>
            </a:r>
            <a:endParaRPr lang="es-ES" sz="1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5ACD7FC-8561-C560-0E0E-4FDE9C2A94B8}"/>
              </a:ext>
            </a:extLst>
          </p:cNvPr>
          <p:cNvSpPr txBox="1"/>
          <p:nvPr/>
        </p:nvSpPr>
        <p:spPr>
          <a:xfrm>
            <a:off x="1698634" y="2765154"/>
            <a:ext cx="70104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chemeClr val="accent1"/>
                </a:solidFill>
              </a:rPr>
              <a:t>Jubilada, trabajó toda su vida como profesora de instituto 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329CA88B-BDA7-DF28-D38C-644D120E370E}"/>
              </a:ext>
            </a:extLst>
          </p:cNvPr>
          <p:cNvCxnSpPr/>
          <p:nvPr/>
        </p:nvCxnSpPr>
        <p:spPr>
          <a:xfrm flipH="1">
            <a:off x="862239" y="3280538"/>
            <a:ext cx="756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808E117-389B-F75D-337A-E2FA57C8E267}"/>
              </a:ext>
            </a:extLst>
          </p:cNvPr>
          <p:cNvSpPr txBox="1"/>
          <p:nvPr/>
        </p:nvSpPr>
        <p:spPr>
          <a:xfrm>
            <a:off x="862239" y="3460374"/>
            <a:ext cx="3981365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M2 de 5 años de evolución, bien controlada con </a:t>
            </a:r>
            <a:r>
              <a:rPr kumimoji="0" lang="es-ES_tradnl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gliptina</a:t>
            </a: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 </a:t>
            </a:r>
            <a:r>
              <a:rPr kumimoji="0" lang="es-ES_tradnl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pagliflozina</a:t>
            </a: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HbA1c: 7%)</a:t>
            </a:r>
          </a:p>
          <a:p>
            <a:endParaRPr kumimoji="0" lang="es-ES_tradnl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A bien controlada con </a:t>
            </a:r>
            <a:r>
              <a:rPr kumimoji="0" lang="es-ES_tradnl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desartán</a:t>
            </a: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lexetilo</a:t>
            </a: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hidroclorotiazida (120mmH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_tradnl" sz="150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rosis incipiente en manos con tratamiento esporádico del dolor con paracetamol y metamiz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s-ES_tradnl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5DC45ED9-48AA-640B-DAC6-80EEC32F49EB}"/>
              </a:ext>
            </a:extLst>
          </p:cNvPr>
          <p:cNvSpPr txBox="1"/>
          <p:nvPr/>
        </p:nvSpPr>
        <p:spPr>
          <a:xfrm>
            <a:off x="4786879" y="3460374"/>
            <a:ext cx="3981365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lipemia en tratamiento con simvastatina desde hace unos años</a:t>
            </a:r>
          </a:p>
          <a:p>
            <a:endParaRPr kumimoji="0" lang="es-ES_tradnl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tración glomerular norm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_tradnl" sz="150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ude a consulta para una analítica de control en la que su MAP detecta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rgbClr val="002060"/>
                </a:solidFill>
                <a:latin typeface="Arial"/>
              </a:rPr>
              <a:t>c-LDL 125mg/</a:t>
            </a:r>
            <a:r>
              <a:rPr lang="es-ES" sz="1500" dirty="0" err="1">
                <a:solidFill>
                  <a:srgbClr val="002060"/>
                </a:solidFill>
                <a:latin typeface="Arial"/>
              </a:rPr>
              <a:t>dL</a:t>
            </a:r>
            <a:endParaRPr lang="es-ES" sz="1500" dirty="0">
              <a:solidFill>
                <a:srgbClr val="002060"/>
              </a:solidFill>
              <a:latin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s-ES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esterol total 240mg/</a:t>
            </a:r>
            <a:r>
              <a:rPr kumimoji="0" lang="es-E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L</a:t>
            </a:r>
            <a:endParaRPr kumimoji="0" lang="es-ES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500" dirty="0">
                <a:solidFill>
                  <a:srgbClr val="002060"/>
                </a:solidFill>
                <a:latin typeface="Arial"/>
              </a:rPr>
              <a:t>c-HDL 51mg/</a:t>
            </a:r>
            <a:r>
              <a:rPr lang="es-ES" sz="1500" dirty="0" err="1">
                <a:solidFill>
                  <a:srgbClr val="002060"/>
                </a:solidFill>
                <a:latin typeface="Arial"/>
              </a:rPr>
              <a:t>dL</a:t>
            </a:r>
            <a:endParaRPr kumimoji="0" lang="es-ES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s-ES_tradnl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ACF14D6-B4E7-8348-40D7-A9D6553B7A23}"/>
              </a:ext>
            </a:extLst>
          </p:cNvPr>
          <p:cNvSpPr txBox="1"/>
          <p:nvPr/>
        </p:nvSpPr>
        <p:spPr>
          <a:xfrm>
            <a:off x="197531" y="6393460"/>
            <a:ext cx="219258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s-ES_tradnl" sz="1600" b="1" dirty="0">
                <a:solidFill>
                  <a:schemeClr val="accent1"/>
                </a:solidFill>
              </a:rPr>
              <a:t>C</a:t>
            </a:r>
            <a:r>
              <a:rPr lang="es-ES" sz="1600" b="1" dirty="0">
                <a:solidFill>
                  <a:schemeClr val="accent1"/>
                </a:solidFill>
              </a:rPr>
              <a:t>aso clínico ficticio</a:t>
            </a:r>
          </a:p>
        </p:txBody>
      </p:sp>
    </p:spTree>
    <p:extLst>
      <p:ext uri="{BB962C8B-B14F-4D97-AF65-F5344CB8AC3E}">
        <p14:creationId xmlns:p14="http://schemas.microsoft.com/office/powerpoint/2010/main" val="386712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B0935B-9C2E-1FAE-F2F3-4D4D22236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F12CAD61-4127-4A4F-CC7B-E6CC3D21BC64}"/>
              </a:ext>
            </a:extLst>
          </p:cNvPr>
          <p:cNvSpPr/>
          <p:nvPr/>
        </p:nvSpPr>
        <p:spPr>
          <a:xfrm>
            <a:off x="101600" y="744206"/>
            <a:ext cx="11988800" cy="4778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iesgo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V alto: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aciente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on DM2</a:t>
            </a:r>
          </a:p>
        </p:txBody>
      </p:sp>
      <p:pic>
        <p:nvPicPr>
          <p:cNvPr id="12300" name="Imagen 6">
            <a:extLst>
              <a:ext uri="{FF2B5EF4-FFF2-40B4-BE49-F238E27FC236}">
                <a16:creationId xmlns:a16="http://schemas.microsoft.com/office/drawing/2014/main" id="{CF3948B0-364F-7A58-8B58-BFCD2D8942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4270" y="4887103"/>
            <a:ext cx="4279283" cy="613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1" name="Imagen 9" descr="Interfaz de usuario gráfica&#10;&#10;Descripción generada automáticamente con confianza media">
            <a:extLst>
              <a:ext uri="{FF2B5EF4-FFF2-40B4-BE49-F238E27FC236}">
                <a16:creationId xmlns:a16="http://schemas.microsoft.com/office/drawing/2014/main" id="{C4743D2E-5DA0-05CA-D547-30C54FB26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5" b="36819"/>
          <a:stretch>
            <a:fillRect/>
          </a:stretch>
        </p:blipFill>
        <p:spPr bwMode="auto">
          <a:xfrm>
            <a:off x="725706" y="4905596"/>
            <a:ext cx="1332580" cy="183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04" name="CuadroTexto 17">
            <a:extLst>
              <a:ext uri="{FF2B5EF4-FFF2-40B4-BE49-F238E27FC236}">
                <a16:creationId xmlns:a16="http://schemas.microsoft.com/office/drawing/2014/main" id="{FB188A63-3673-7CFF-18A8-6851923005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7667" y="5814673"/>
            <a:ext cx="939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0070C0"/>
                </a:solidFill>
              </a:rPr>
              <a:t>RCV Alto!!!</a:t>
            </a:r>
            <a:endParaRPr lang="es-ES" altLang="es-ES" sz="2000" b="1" dirty="0">
              <a:solidFill>
                <a:srgbClr val="0070C0"/>
              </a:solidFill>
            </a:endParaRPr>
          </a:p>
        </p:txBody>
      </p:sp>
      <p:pic>
        <p:nvPicPr>
          <p:cNvPr id="7" name="Imagen 6" descr="Gráfico de dispersión&#10;&#10;Descripción generada automáticamente con confianza media">
            <a:extLst>
              <a:ext uri="{FF2B5EF4-FFF2-40B4-BE49-F238E27FC236}">
                <a16:creationId xmlns:a16="http://schemas.microsoft.com/office/drawing/2014/main" id="{97BCA9E8-F2BF-0E4C-2D4B-ECC756A1BC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02" b="3072"/>
          <a:stretch/>
        </p:blipFill>
        <p:spPr>
          <a:xfrm>
            <a:off x="239248" y="1336313"/>
            <a:ext cx="1609310" cy="3294641"/>
          </a:xfrm>
          <a:prstGeom prst="rect">
            <a:avLst/>
          </a:prstGeom>
        </p:spPr>
      </p:pic>
      <p:pic>
        <p:nvPicPr>
          <p:cNvPr id="8" name="Imagen 7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2B08FB9D-C182-678F-7004-BDAE5A5B93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13" b="2761"/>
          <a:stretch/>
        </p:blipFill>
        <p:spPr>
          <a:xfrm>
            <a:off x="1869266" y="1336313"/>
            <a:ext cx="1609310" cy="3294641"/>
          </a:xfrm>
          <a:prstGeom prst="rect">
            <a:avLst/>
          </a:prstGeom>
        </p:spPr>
      </p:pic>
      <p:pic>
        <p:nvPicPr>
          <p:cNvPr id="9" name="Imagen 8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2D8F2B31-1300-B84D-FC63-4FA0B4363A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3" b="2831"/>
          <a:stretch/>
        </p:blipFill>
        <p:spPr>
          <a:xfrm>
            <a:off x="3526478" y="1336313"/>
            <a:ext cx="1609310" cy="3294641"/>
          </a:xfrm>
          <a:prstGeom prst="rect">
            <a:avLst/>
          </a:prstGeom>
        </p:spPr>
      </p:pic>
      <p:pic>
        <p:nvPicPr>
          <p:cNvPr id="10" name="Imagen 9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D69F00F0-1CFC-FE98-2CF2-5553B38155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13" b="2761"/>
          <a:stretch/>
        </p:blipFill>
        <p:spPr>
          <a:xfrm>
            <a:off x="5183690" y="1326372"/>
            <a:ext cx="1609310" cy="3294641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734792D1-F0BA-98FF-21EE-F5BF1EB0AF5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289" t="5513" r="18189" b="7395"/>
          <a:stretch/>
        </p:blipFill>
        <p:spPr>
          <a:xfrm>
            <a:off x="10575450" y="25170"/>
            <a:ext cx="1514950" cy="1525724"/>
          </a:xfrm>
          <a:prstGeom prst="ellipse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CC7BDFC5-0BEE-9D2D-C502-9889F084EF6F}"/>
              </a:ext>
            </a:extLst>
          </p:cNvPr>
          <p:cNvSpPr txBox="1"/>
          <p:nvPr/>
        </p:nvSpPr>
        <p:spPr>
          <a:xfrm>
            <a:off x="7137263" y="1511117"/>
            <a:ext cx="4171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_tradnl" b="1" dirty="0">
                <a:solidFill>
                  <a:schemeClr val="tx1">
                    <a:lumMod val="50000"/>
                  </a:schemeClr>
                </a:solidFill>
              </a:rPr>
              <a:t>Acciones a tomar en este paciente:</a:t>
            </a:r>
          </a:p>
        </p:txBody>
      </p:sp>
      <p:graphicFrame>
        <p:nvGraphicFramePr>
          <p:cNvPr id="11" name="Diagrama 10">
            <a:extLst>
              <a:ext uri="{FF2B5EF4-FFF2-40B4-BE49-F238E27FC236}">
                <a16:creationId xmlns:a16="http://schemas.microsoft.com/office/drawing/2014/main" id="{36AE3822-7C00-C9EB-6999-EBC2A32A6E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3966722"/>
              </p:ext>
            </p:extLst>
          </p:nvPr>
        </p:nvGraphicFramePr>
        <p:xfrm>
          <a:off x="6950750" y="1829982"/>
          <a:ext cx="5139650" cy="4283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CuadroTexto 12">
            <a:extLst>
              <a:ext uri="{FF2B5EF4-FFF2-40B4-BE49-F238E27FC236}">
                <a16:creationId xmlns:a16="http://schemas.microsoft.com/office/drawing/2014/main" id="{28941A90-E795-DB13-578B-56FCFCE38E40}"/>
              </a:ext>
            </a:extLst>
          </p:cNvPr>
          <p:cNvSpPr txBox="1"/>
          <p:nvPr/>
        </p:nvSpPr>
        <p:spPr>
          <a:xfrm>
            <a:off x="7137263" y="2227554"/>
            <a:ext cx="393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1400" b="1" dirty="0">
                <a:solidFill>
                  <a:schemeClr val="bg1"/>
                </a:solidFill>
              </a:rPr>
              <a:t>1. Pasarle la escala SCORE 2 Diabetes para actualizar su RCV. 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8F76BB6-4A58-EF57-9C93-C88F7A406C6F}"/>
              </a:ext>
            </a:extLst>
          </p:cNvPr>
          <p:cNvSpPr txBox="1"/>
          <p:nvPr/>
        </p:nvSpPr>
        <p:spPr>
          <a:xfrm>
            <a:off x="7476884" y="3572440"/>
            <a:ext cx="39351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2. Cambiar de tratamiento hipolipemiante    a una estatina de alta intensidad para obtener unos niveles de LDL&lt;70mg/dl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sz="1400" b="1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5C2FD32-D2E6-589B-269B-DC059538C461}"/>
              </a:ext>
            </a:extLst>
          </p:cNvPr>
          <p:cNvSpPr txBox="1"/>
          <p:nvPr/>
        </p:nvSpPr>
        <p:spPr>
          <a:xfrm>
            <a:off x="7823860" y="5105661"/>
            <a:ext cx="42237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1400" b="1" dirty="0">
                <a:solidFill>
                  <a:schemeClr val="bg1"/>
                </a:solidFill>
              </a:rPr>
              <a:t>3. Analítica de control en 3 meses y valoración clínica de nuevo para ver tolerancia al fármaco y comprobar niveles de LDL estén en objetivo.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B3B5A18C-B704-1CE2-8C1F-A7B0A46DA7BA}"/>
              </a:ext>
            </a:extLst>
          </p:cNvPr>
          <p:cNvSpPr/>
          <p:nvPr/>
        </p:nvSpPr>
        <p:spPr>
          <a:xfrm>
            <a:off x="2620544" y="5844325"/>
            <a:ext cx="770965" cy="681740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20398D0-BBC9-6EF4-9415-50E65D6C3ABB}"/>
              </a:ext>
            </a:extLst>
          </p:cNvPr>
          <p:cNvCxnSpPr>
            <a:cxnSpLocks/>
          </p:cNvCxnSpPr>
          <p:nvPr/>
        </p:nvCxnSpPr>
        <p:spPr>
          <a:xfrm flipV="1">
            <a:off x="1786826" y="6303586"/>
            <a:ext cx="833718" cy="304818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Texto 17">
            <a:extLst>
              <a:ext uri="{FF2B5EF4-FFF2-40B4-BE49-F238E27FC236}">
                <a16:creationId xmlns:a16="http://schemas.microsoft.com/office/drawing/2014/main" id="{6BCDAE03-5AEF-6AEA-673F-E052BCCA75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5483" y="5968561"/>
            <a:ext cx="9396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FF0000"/>
                </a:solidFill>
              </a:rPr>
              <a:t>7,2%</a:t>
            </a:r>
            <a:endParaRPr lang="es-ES" altLang="es-ES" sz="2000" b="1" dirty="0">
              <a:solidFill>
                <a:srgbClr val="FF0000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774BB89-F811-5FC4-B945-3FF07945D90F}"/>
              </a:ext>
            </a:extLst>
          </p:cNvPr>
          <p:cNvSpPr txBox="1"/>
          <p:nvPr/>
        </p:nvSpPr>
        <p:spPr>
          <a:xfrm>
            <a:off x="4879692" y="6131272"/>
            <a:ext cx="50560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pt-BR" sz="7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.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  <a:p>
            <a:pPr marL="228600" indent="-228600">
              <a:buAutoNum type="arabicPeriod"/>
            </a:pPr>
            <a:r>
              <a:rPr lang="en-US" sz="700" b="0" i="1" dirty="0" err="1">
                <a:solidFill>
                  <a:schemeClr val="accent1"/>
                </a:solidFill>
                <a:effectLst/>
              </a:rPr>
              <a:t>Visseren</a:t>
            </a:r>
            <a:r>
              <a:rPr lang="en-US" sz="700" i="1" dirty="0">
                <a:solidFill>
                  <a:schemeClr val="accent1"/>
                </a:solidFill>
              </a:rPr>
              <a:t> F, et al. 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2021 ESC Guidelines on cardiovascular disease prevention in clinical practice. European Heart Journal (2021) 42, 32273337 doi: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b484</a:t>
            </a:r>
            <a:endParaRPr lang="pt-BR" sz="700" b="0" i="1" dirty="0">
              <a:solidFill>
                <a:schemeClr val="accent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738786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F3653F60-0CF2-E62F-C480-2D9B75F23CEB}"/>
              </a:ext>
            </a:extLst>
          </p:cNvPr>
          <p:cNvSpPr txBox="1">
            <a:spLocks/>
          </p:cNvSpPr>
          <p:nvPr/>
        </p:nvSpPr>
        <p:spPr>
          <a:xfrm>
            <a:off x="203495" y="1744579"/>
            <a:ext cx="8972550" cy="46080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67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tenga una EAP.</a:t>
            </a: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000" b="0" i="0" u="none" strike="noStrike" kern="1200" cap="none" spc="0" normalizeH="0" baseline="0" noProof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AC9210B-38BD-11A7-F0FC-2BF37C46BC48}"/>
              </a:ext>
            </a:extLst>
          </p:cNvPr>
          <p:cNvSpPr/>
          <p:nvPr/>
        </p:nvSpPr>
        <p:spPr>
          <a:xfrm>
            <a:off x="203496" y="1146328"/>
            <a:ext cx="11988503" cy="4779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iesgo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V alto: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aciente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on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ospecha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EAP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F1F959E-FC7E-39E7-6D51-38A7985B1E39}"/>
              </a:ext>
            </a:extLst>
          </p:cNvPr>
          <p:cNvCxnSpPr/>
          <p:nvPr/>
        </p:nvCxnSpPr>
        <p:spPr>
          <a:xfrm flipH="1">
            <a:off x="862239" y="3280538"/>
            <a:ext cx="756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899EBC8F-4624-22F5-87CC-5EF480B23A6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531" y="1785367"/>
            <a:ext cx="1465014" cy="140094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7BC84E5-654A-51F6-8017-0284C6FED17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62545" y="1744580"/>
            <a:ext cx="3542508" cy="721894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ED0AF7A7-BF0A-DB01-52E2-4D7C27967875}"/>
              </a:ext>
            </a:extLst>
          </p:cNvPr>
          <p:cNvSpPr txBox="1"/>
          <p:nvPr/>
        </p:nvSpPr>
        <p:spPr>
          <a:xfrm>
            <a:off x="1698634" y="2512428"/>
            <a:ext cx="3860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b="1">
                <a:solidFill>
                  <a:schemeClr val="accent5">
                    <a:lumMod val="75000"/>
                  </a:schemeClr>
                </a:solidFill>
              </a:rPr>
              <a:t>NOMBRE: JULIÁN / EDAD: 68 AÑOS</a:t>
            </a:r>
            <a:endParaRPr lang="es-ES" sz="1600" b="1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AEEE3053-44CB-49F7-7305-7ADA9867CF79}"/>
              </a:ext>
            </a:extLst>
          </p:cNvPr>
          <p:cNvSpPr txBox="1"/>
          <p:nvPr/>
        </p:nvSpPr>
        <p:spPr>
          <a:xfrm>
            <a:off x="1698634" y="2765154"/>
            <a:ext cx="70104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>
                <a:solidFill>
                  <a:schemeClr val="accent1"/>
                </a:solidFill>
              </a:rPr>
              <a:t>Jubilado, economista, trabajó durante años en sucursal bancari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31B78CF-9A13-40FA-DCAD-F3DB799394AE}"/>
              </a:ext>
            </a:extLst>
          </p:cNvPr>
          <p:cNvSpPr txBox="1"/>
          <p:nvPr/>
        </p:nvSpPr>
        <p:spPr>
          <a:xfrm>
            <a:off x="862239" y="3460374"/>
            <a:ext cx="448072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C en tratamiento con bronco-dilatadores y corticoides en brotes</a:t>
            </a:r>
          </a:p>
          <a:p>
            <a:endParaRPr kumimoji="0" lang="es-ES_tradn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A en tratamiento con </a:t>
            </a:r>
            <a:r>
              <a:rPr kumimoji="0" lang="es-ES_tradn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desartán</a:t>
            </a: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lexetilo</a:t>
            </a: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hidroclorotiazida con buenas cifras de control (125mmH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_tradnl" sz="160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ude a consulta de su MAP porque desde hace unos meses nota dolor en pantorrilla izquierda cuando camina, teniendo que pararse para que se le calme el dolor. 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65115C4-7612-3868-B8D5-C473B823C71A}"/>
              </a:ext>
            </a:extLst>
          </p:cNvPr>
          <p:cNvSpPr txBox="1"/>
          <p:nvPr/>
        </p:nvSpPr>
        <p:spPr>
          <a:xfrm>
            <a:off x="5283582" y="3432883"/>
            <a:ext cx="40408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MAP detecta:</a:t>
            </a: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c-LDL 105 mg/</a:t>
            </a:r>
            <a:r>
              <a:rPr lang="es-ES_tradnl" sz="1600" err="1">
                <a:solidFill>
                  <a:srgbClr val="002060"/>
                </a:solidFill>
                <a:latin typeface="Arial"/>
              </a:rPr>
              <a:t>dL</a:t>
            </a:r>
            <a:r>
              <a:rPr lang="es-ES_tradnl" sz="1600">
                <a:solidFill>
                  <a:srgbClr val="002060"/>
                </a:solidFill>
                <a:latin typeface="Arial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colesterol total 230 mg/</a:t>
            </a:r>
            <a:r>
              <a:rPr lang="es-ES_tradnl" sz="1600" err="1">
                <a:solidFill>
                  <a:srgbClr val="002060"/>
                </a:solidFill>
                <a:latin typeface="Arial"/>
              </a:rPr>
              <a:t>dL</a:t>
            </a:r>
            <a:endParaRPr lang="es-ES_tradnl" sz="1600">
              <a:solidFill>
                <a:srgbClr val="002060"/>
              </a:solidFill>
              <a:latin typeface="Arial"/>
            </a:endParaRP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c-HDL 40 mg/</a:t>
            </a:r>
            <a:r>
              <a:rPr lang="es-ES_tradnl" sz="1600" err="1">
                <a:solidFill>
                  <a:srgbClr val="002060"/>
                </a:solidFill>
                <a:latin typeface="Arial"/>
              </a:rPr>
              <a:t>dL</a:t>
            </a:r>
            <a:endParaRPr lang="es-ES_tradnl" sz="1600">
              <a:solidFill>
                <a:srgbClr val="002060"/>
              </a:solidFill>
              <a:latin typeface="Arial"/>
            </a:endParaRP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PCR elevada</a:t>
            </a:r>
            <a:endParaRPr lang="es-ES">
              <a:solidFill>
                <a:srgbClr val="002060"/>
              </a:solidFill>
            </a:endParaRPr>
          </a:p>
        </p:txBody>
      </p:sp>
      <p:pic>
        <p:nvPicPr>
          <p:cNvPr id="18" name="Imagen 17" descr="Interfaz de usuario gráfica, Aplicación, Word&#10;&#10;Descripción generada automáticamente">
            <a:extLst>
              <a:ext uri="{FF2B5EF4-FFF2-40B4-BE49-F238E27FC236}">
                <a16:creationId xmlns:a16="http://schemas.microsoft.com/office/drawing/2014/main" id="{68676512-C18F-AA25-BCE2-1C5DC099B1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9" b="33595"/>
          <a:stretch/>
        </p:blipFill>
        <p:spPr>
          <a:xfrm>
            <a:off x="9290061" y="2715099"/>
            <a:ext cx="2702753" cy="3506407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201B6D38-FCCF-33B6-5287-EAF86A23D865}"/>
              </a:ext>
            </a:extLst>
          </p:cNvPr>
          <p:cNvSpPr/>
          <p:nvPr/>
        </p:nvSpPr>
        <p:spPr>
          <a:xfrm>
            <a:off x="7778770" y="5085497"/>
            <a:ext cx="1155031" cy="102601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ángulo 7" descr="Microscopio">
            <a:extLst>
              <a:ext uri="{FF2B5EF4-FFF2-40B4-BE49-F238E27FC236}">
                <a16:creationId xmlns:a16="http://schemas.microsoft.com/office/drawing/2014/main" id="{6796C7BC-DA9E-34EB-ACE5-ECECA8FEF972}"/>
              </a:ext>
            </a:extLst>
          </p:cNvPr>
          <p:cNvSpPr/>
          <p:nvPr/>
        </p:nvSpPr>
        <p:spPr>
          <a:xfrm>
            <a:off x="8031434" y="5221172"/>
            <a:ext cx="580878" cy="574579"/>
          </a:xfrm>
          <a:prstGeom prst="rect">
            <a:avLst/>
          </a:prstGeom>
          <a:blipFill rotWithShape="1">
            <a:blip r:embed="rId5"/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ES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1C53E9B1-72FA-2946-71A3-EF5E12C468EA}"/>
              </a:ext>
            </a:extLst>
          </p:cNvPr>
          <p:cNvSpPr/>
          <p:nvPr/>
        </p:nvSpPr>
        <p:spPr>
          <a:xfrm>
            <a:off x="9493624" y="3621741"/>
            <a:ext cx="1155032" cy="1159920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0EF166D9-5E5B-5E14-AC5B-40104AEA289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248" t="9935" r="11203" b="4575"/>
          <a:stretch/>
        </p:blipFill>
        <p:spPr>
          <a:xfrm>
            <a:off x="9374132" y="116534"/>
            <a:ext cx="2549047" cy="2537521"/>
          </a:xfrm>
          <a:prstGeom prst="ellipse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3DE46DB0-EB8D-7567-5D73-9B1E497A3C6D}"/>
              </a:ext>
            </a:extLst>
          </p:cNvPr>
          <p:cNvSpPr txBox="1"/>
          <p:nvPr/>
        </p:nvSpPr>
        <p:spPr>
          <a:xfrm>
            <a:off x="197531" y="6393460"/>
            <a:ext cx="219258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s-ES_tradnl" sz="1600" b="1" dirty="0">
                <a:solidFill>
                  <a:schemeClr val="accent1"/>
                </a:solidFill>
              </a:rPr>
              <a:t>C</a:t>
            </a:r>
            <a:r>
              <a:rPr lang="es-ES" sz="1600" b="1" dirty="0">
                <a:solidFill>
                  <a:schemeClr val="accent1"/>
                </a:solidFill>
              </a:rPr>
              <a:t>aso clínico ficticio</a:t>
            </a:r>
          </a:p>
        </p:txBody>
      </p:sp>
    </p:spTree>
    <p:extLst>
      <p:ext uri="{BB962C8B-B14F-4D97-AF65-F5344CB8AC3E}">
        <p14:creationId xmlns:p14="http://schemas.microsoft.com/office/powerpoint/2010/main" val="97383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C17588-4449-38DE-585D-2A78F3338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Declaración de intereses: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22052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847AA-2159-BE08-9B0C-C200305DA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DF4A78E7-CC6F-CBB1-7C7B-36F0BA7BD12F}"/>
              </a:ext>
            </a:extLst>
          </p:cNvPr>
          <p:cNvSpPr/>
          <p:nvPr/>
        </p:nvSpPr>
        <p:spPr>
          <a:xfrm>
            <a:off x="131776" y="742912"/>
            <a:ext cx="11988503" cy="4779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iesgo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V alto: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aciente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on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ospecha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EAP</a:t>
            </a:r>
          </a:p>
        </p:txBody>
      </p:sp>
      <p:pic>
        <p:nvPicPr>
          <p:cNvPr id="4" name="Imagen 3" descr="Imagen que contiene Gráfico de dispersión&#10;&#10;Descripción generada automáticamente">
            <a:extLst>
              <a:ext uri="{FF2B5EF4-FFF2-40B4-BE49-F238E27FC236}">
                <a16:creationId xmlns:a16="http://schemas.microsoft.com/office/drawing/2014/main" id="{7B76CC25-F387-A4D2-07D0-2B4D64D6AF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75" b="2745"/>
          <a:stretch/>
        </p:blipFill>
        <p:spPr>
          <a:xfrm>
            <a:off x="1264890" y="1336313"/>
            <a:ext cx="1633452" cy="3364176"/>
          </a:xfrm>
          <a:prstGeom prst="rect">
            <a:avLst/>
          </a:prstGeom>
        </p:spPr>
      </p:pic>
      <p:pic>
        <p:nvPicPr>
          <p:cNvPr id="7" name="Imagen 6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C9A85815-8639-E301-5B79-7970D91399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75" b="2745"/>
          <a:stretch/>
        </p:blipFill>
        <p:spPr>
          <a:xfrm>
            <a:off x="2975914" y="1336312"/>
            <a:ext cx="1633452" cy="3364176"/>
          </a:xfrm>
          <a:prstGeom prst="rect">
            <a:avLst/>
          </a:prstGeom>
        </p:spPr>
      </p:pic>
      <p:pic>
        <p:nvPicPr>
          <p:cNvPr id="9" name="Imagen 8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2858C0D0-F343-715D-F3BF-48D1460345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75" b="2745"/>
          <a:stretch/>
        </p:blipFill>
        <p:spPr>
          <a:xfrm>
            <a:off x="4701855" y="1336313"/>
            <a:ext cx="1633452" cy="336417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EAC447AD-C96E-73CD-2464-D3A9331006E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248" t="9935" r="11203" b="4575"/>
          <a:stretch/>
        </p:blipFill>
        <p:spPr>
          <a:xfrm>
            <a:off x="10302053" y="79378"/>
            <a:ext cx="1462106" cy="1455495"/>
          </a:xfrm>
          <a:prstGeom prst="ellipse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C34B9446-3FD1-0D47-62C9-C07C50E09108}"/>
              </a:ext>
            </a:extLst>
          </p:cNvPr>
          <p:cNvSpPr txBox="1"/>
          <p:nvPr/>
        </p:nvSpPr>
        <p:spPr>
          <a:xfrm>
            <a:off x="7074508" y="1591802"/>
            <a:ext cx="4171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_tradnl" b="1" dirty="0">
                <a:solidFill>
                  <a:schemeClr val="tx1">
                    <a:lumMod val="50000"/>
                  </a:schemeClr>
                </a:solidFill>
              </a:rPr>
              <a:t>Acciones a tomar en este paciente:</a:t>
            </a:r>
          </a:p>
        </p:txBody>
      </p:sp>
      <p:graphicFrame>
        <p:nvGraphicFramePr>
          <p:cNvPr id="15" name="Diagrama 14">
            <a:extLst>
              <a:ext uri="{FF2B5EF4-FFF2-40B4-BE49-F238E27FC236}">
                <a16:creationId xmlns:a16="http://schemas.microsoft.com/office/drawing/2014/main" id="{CE5B9A9D-B60D-010C-71F5-B2C50CB73C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6982311"/>
              </p:ext>
            </p:extLst>
          </p:nvPr>
        </p:nvGraphicFramePr>
        <p:xfrm>
          <a:off x="6887995" y="1910667"/>
          <a:ext cx="5139650" cy="4283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6" name="CuadroTexto 15">
            <a:extLst>
              <a:ext uri="{FF2B5EF4-FFF2-40B4-BE49-F238E27FC236}">
                <a16:creationId xmlns:a16="http://schemas.microsoft.com/office/drawing/2014/main" id="{FA6F7EA0-9B37-B869-F48B-3420764A345C}"/>
              </a:ext>
            </a:extLst>
          </p:cNvPr>
          <p:cNvSpPr txBox="1"/>
          <p:nvPr/>
        </p:nvSpPr>
        <p:spPr>
          <a:xfrm>
            <a:off x="7074508" y="2182729"/>
            <a:ext cx="39351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1. Pasarle la escala SCORE 2 para actualizar su RCV, y instaurar un tratamiento con una estatina de alta intensidad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F476A59-D3F8-1AB7-82F1-A0670A0E39CE}"/>
              </a:ext>
            </a:extLst>
          </p:cNvPr>
          <p:cNvSpPr txBox="1"/>
          <p:nvPr/>
        </p:nvSpPr>
        <p:spPr>
          <a:xfrm>
            <a:off x="7414129" y="3653125"/>
            <a:ext cx="41714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2. Derivar al vascular para realizarle pruebas de imagen que confirmen el diagnóstico inicial del EAP y ajustar el </a:t>
            </a:r>
            <a:r>
              <a:rPr lang="es-ES" sz="1400" b="1" dirty="0" err="1">
                <a:solidFill>
                  <a:schemeClr val="bg1"/>
                </a:solidFill>
              </a:rPr>
              <a:t>trataniento</a:t>
            </a:r>
            <a:r>
              <a:rPr lang="es-ES" sz="1400" b="1" dirty="0">
                <a:solidFill>
                  <a:schemeClr val="bg1"/>
                </a:solidFill>
              </a:rPr>
              <a:t> si hace falta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8D9C1DE-7404-B803-8BAE-7C9F2C581E3D}"/>
              </a:ext>
            </a:extLst>
          </p:cNvPr>
          <p:cNvSpPr txBox="1"/>
          <p:nvPr/>
        </p:nvSpPr>
        <p:spPr>
          <a:xfrm>
            <a:off x="7705118" y="5249337"/>
            <a:ext cx="42237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3. Analítica de control en 3 meses y valoración clínica de nuevo para ver tolerancia al fármaco y comprobar niveles de LDL estén en objetivo.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9F1FA626-937B-480E-7503-71CFEC343C6E}"/>
              </a:ext>
            </a:extLst>
          </p:cNvPr>
          <p:cNvGrpSpPr/>
          <p:nvPr/>
        </p:nvGrpSpPr>
        <p:grpSpPr>
          <a:xfrm>
            <a:off x="852009" y="4923535"/>
            <a:ext cx="1344093" cy="1792449"/>
            <a:chOff x="690997" y="2406735"/>
            <a:chExt cx="3086100" cy="3953300"/>
          </a:xfrm>
        </p:grpSpPr>
        <p:pic>
          <p:nvPicPr>
            <p:cNvPr id="19" name="Imagen 18" descr="Interfaz de usuario gráfica, Aplicación&#10;&#10;Descripción generada automáticamente">
              <a:extLst>
                <a:ext uri="{FF2B5EF4-FFF2-40B4-BE49-F238E27FC236}">
                  <a16:creationId xmlns:a16="http://schemas.microsoft.com/office/drawing/2014/main" id="{507331BB-006F-87B4-9CD6-89A9CE424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620" b="36734"/>
            <a:stretch/>
          </p:blipFill>
          <p:spPr>
            <a:xfrm>
              <a:off x="690997" y="2406735"/>
              <a:ext cx="3086100" cy="3953300"/>
            </a:xfrm>
            <a:prstGeom prst="rect">
              <a:avLst/>
            </a:prstGeom>
          </p:spPr>
        </p:pic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BCEF989C-2B33-4C6A-2673-AB0E44602E4E}"/>
                </a:ext>
              </a:extLst>
            </p:cNvPr>
            <p:cNvSpPr txBox="1"/>
            <p:nvPr/>
          </p:nvSpPr>
          <p:spPr>
            <a:xfrm>
              <a:off x="1619835" y="5433300"/>
              <a:ext cx="1194066" cy="56814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 b="1" dirty="0">
                  <a:solidFill>
                    <a:schemeClr val="accent1"/>
                  </a:solidFill>
                </a:rPr>
                <a:t>8% </a:t>
              </a:r>
              <a:endParaRPr lang="es-ES" sz="1200" b="1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23" name="Imagen 6">
            <a:extLst>
              <a:ext uri="{FF2B5EF4-FFF2-40B4-BE49-F238E27FC236}">
                <a16:creationId xmlns:a16="http://schemas.microsoft.com/office/drawing/2014/main" id="{2B0AB27C-0985-FDB3-B015-0265DC6911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4270" y="4887103"/>
            <a:ext cx="4279283" cy="613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CuadroTexto 17">
            <a:extLst>
              <a:ext uri="{FF2B5EF4-FFF2-40B4-BE49-F238E27FC236}">
                <a16:creationId xmlns:a16="http://schemas.microsoft.com/office/drawing/2014/main" id="{23EC5FF9-C6DB-5501-D4DF-2CDE6D4990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7667" y="5814673"/>
            <a:ext cx="939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0070C0"/>
                </a:solidFill>
              </a:rPr>
              <a:t>RCV Alto!!!</a:t>
            </a:r>
            <a:endParaRPr lang="es-ES" altLang="es-ES" sz="2000" b="1" dirty="0">
              <a:solidFill>
                <a:srgbClr val="0070C0"/>
              </a:solidFill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1CC6B627-E033-5512-6447-DC208700BB7B}"/>
              </a:ext>
            </a:extLst>
          </p:cNvPr>
          <p:cNvSpPr/>
          <p:nvPr/>
        </p:nvSpPr>
        <p:spPr>
          <a:xfrm>
            <a:off x="2620544" y="5844325"/>
            <a:ext cx="770965" cy="681740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E0BF8E74-B9AD-C79A-9A00-DA181A807B71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1776600" y="6303586"/>
            <a:ext cx="843944" cy="121012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uadroTexto 17">
            <a:extLst>
              <a:ext uri="{FF2B5EF4-FFF2-40B4-BE49-F238E27FC236}">
                <a16:creationId xmlns:a16="http://schemas.microsoft.com/office/drawing/2014/main" id="{F5611CF8-4CBF-39D6-F62C-BDFBFCC87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5483" y="5968561"/>
            <a:ext cx="9396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FF0000"/>
                </a:solidFill>
              </a:rPr>
              <a:t>8%</a:t>
            </a:r>
            <a:endParaRPr lang="es-ES" altLang="es-ES" sz="2000" b="1" dirty="0">
              <a:solidFill>
                <a:srgbClr val="FF0000"/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55AC26C-AA92-57D0-F482-432014EEA4BE}"/>
              </a:ext>
            </a:extLst>
          </p:cNvPr>
          <p:cNvSpPr txBox="1"/>
          <p:nvPr/>
        </p:nvSpPr>
        <p:spPr>
          <a:xfrm>
            <a:off x="4423449" y="6260949"/>
            <a:ext cx="5544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AutoNum type="arabicPeriod"/>
            </a:pPr>
            <a:r>
              <a:rPr lang="pt-BR" sz="7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.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  <a:p>
            <a:pPr marL="228600" indent="-228600" algn="ctr">
              <a:buFontTx/>
              <a:buAutoNum type="arabicPeriod"/>
            </a:pPr>
            <a:r>
              <a:rPr lang="en-US" sz="700" b="0" i="1" dirty="0" err="1">
                <a:solidFill>
                  <a:schemeClr val="accent1"/>
                </a:solidFill>
                <a:effectLst/>
              </a:rPr>
              <a:t>Visseren</a:t>
            </a:r>
            <a:r>
              <a:rPr lang="en-US" sz="700" i="1" dirty="0">
                <a:solidFill>
                  <a:schemeClr val="accent1"/>
                </a:solidFill>
              </a:rPr>
              <a:t> F, et al. 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2021 ESC Guidelines on cardiovascular disease prevention in clinical practice. European Heart Journal (2021) 42, 32273337 doi:10.1093/</a:t>
            </a:r>
            <a:r>
              <a:rPr lang="en-US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/ehab484</a:t>
            </a:r>
            <a:endParaRPr lang="pt-BR" sz="700" b="0" i="1" dirty="0">
              <a:solidFill>
                <a:schemeClr val="accent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9452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7D6CE-4804-21AD-3E87-27C20885B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7EF47B-484A-A938-E8AF-EA3A70D70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531" y="122913"/>
            <a:ext cx="10346231" cy="880781"/>
          </a:xfrm>
        </p:spPr>
        <p:txBody>
          <a:bodyPr/>
          <a:lstStyle/>
          <a:p>
            <a:r>
              <a:rPr lang="es-ES">
                <a:solidFill>
                  <a:schemeClr val="accent1"/>
                </a:solidFill>
              </a:rPr>
              <a:t>Paciente joven “sin patologías” previas conocidas:</a:t>
            </a:r>
            <a:endParaRPr lang="es-ES"/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A9155F2A-D65A-340B-E1B6-45E4B2593262}"/>
              </a:ext>
            </a:extLst>
          </p:cNvPr>
          <p:cNvSpPr txBox="1">
            <a:spLocks/>
          </p:cNvSpPr>
          <p:nvPr/>
        </p:nvSpPr>
        <p:spPr>
          <a:xfrm>
            <a:off x="203495" y="1744579"/>
            <a:ext cx="8972550" cy="46080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67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tenga una EAP.</a:t>
            </a: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000" b="0" i="0" u="none" strike="noStrike" kern="1200" cap="none" spc="0" normalizeH="0" baseline="0" noProof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ACE59E9-2DC1-6EFC-DE53-A134237E02A4}"/>
              </a:ext>
            </a:extLst>
          </p:cNvPr>
          <p:cNvSpPr/>
          <p:nvPr/>
        </p:nvSpPr>
        <p:spPr>
          <a:xfrm>
            <a:off x="203496" y="1146328"/>
            <a:ext cx="11988503" cy="4779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lena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0E2E4A5E-1065-A8E9-B3D1-1F60B6E6BB55}"/>
              </a:ext>
            </a:extLst>
          </p:cNvPr>
          <p:cNvCxnSpPr/>
          <p:nvPr/>
        </p:nvCxnSpPr>
        <p:spPr>
          <a:xfrm flipH="1">
            <a:off x="862239" y="3280538"/>
            <a:ext cx="756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3CF8AF7C-2443-738E-14B3-C9B4880D4C7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531" y="1785367"/>
            <a:ext cx="1465014" cy="140094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5163965-879C-8C47-DC79-DC64C03233A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62545" y="1744580"/>
            <a:ext cx="3542508" cy="721894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B61FEC6C-089C-23DE-7BA2-28202F313309}"/>
              </a:ext>
            </a:extLst>
          </p:cNvPr>
          <p:cNvSpPr txBox="1"/>
          <p:nvPr/>
        </p:nvSpPr>
        <p:spPr>
          <a:xfrm>
            <a:off x="1698634" y="2512428"/>
            <a:ext cx="3860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b="1">
                <a:solidFill>
                  <a:schemeClr val="accent5">
                    <a:lumMod val="75000"/>
                  </a:schemeClr>
                </a:solidFill>
              </a:rPr>
              <a:t>NOMBRE: Elena / EDAD: 49 AÑOS</a:t>
            </a:r>
            <a:endParaRPr lang="es-ES" sz="1600" b="1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516CE15-FCB3-2B2F-FB3A-10D345220C32}"/>
              </a:ext>
            </a:extLst>
          </p:cNvPr>
          <p:cNvSpPr txBox="1"/>
          <p:nvPr/>
        </p:nvSpPr>
        <p:spPr>
          <a:xfrm>
            <a:off x="1698634" y="2765154"/>
            <a:ext cx="70104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>
                <a:solidFill>
                  <a:schemeClr val="accent1"/>
                </a:solidFill>
              </a:rPr>
              <a:t>Trabaja como administrativ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031C8D9-A503-E457-7A09-0ADC32C957AB}"/>
              </a:ext>
            </a:extLst>
          </p:cNvPr>
          <p:cNvSpPr txBox="1"/>
          <p:nvPr/>
        </p:nvSpPr>
        <p:spPr>
          <a:xfrm>
            <a:off x="862239" y="3460374"/>
            <a:ext cx="44807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esida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s-ES_tradnl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A de 150mmHg sin tratami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_tradnl" sz="1600">
              <a:solidFill>
                <a:srgbClr val="002060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madora (20 cigarrillos/dí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>
              <a:solidFill>
                <a:srgbClr val="002060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ude a consulta de su MAP para hacerse una </a:t>
            </a:r>
            <a:r>
              <a:rPr kumimoji="0" lang="es-ES" sz="16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si</a:t>
            </a:r>
            <a:r>
              <a:rPr lang="es-ES" sz="1600" err="1">
                <a:solidFill>
                  <a:srgbClr val="002060"/>
                </a:solidFill>
                <a:latin typeface="Arial"/>
              </a:rPr>
              <a:t>ón</a:t>
            </a:r>
            <a:r>
              <a:rPr lang="es-ES" sz="1600">
                <a:solidFill>
                  <a:srgbClr val="002060"/>
                </a:solidFill>
                <a:latin typeface="Arial"/>
              </a:rPr>
              <a:t> 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s-ES_tradnl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DAFB3441-ADFA-750A-5913-EA8259EE07A5}"/>
              </a:ext>
            </a:extLst>
          </p:cNvPr>
          <p:cNvSpPr txBox="1"/>
          <p:nvPr/>
        </p:nvSpPr>
        <p:spPr>
          <a:xfrm>
            <a:off x="5283582" y="3432883"/>
            <a:ext cx="4040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MAP detecta:</a:t>
            </a: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c-LDL 150 mg/</a:t>
            </a:r>
            <a:r>
              <a:rPr lang="es-ES_tradnl" sz="1600" err="1">
                <a:solidFill>
                  <a:srgbClr val="002060"/>
                </a:solidFill>
                <a:latin typeface="Arial"/>
              </a:rPr>
              <a:t>dL</a:t>
            </a:r>
            <a:r>
              <a:rPr lang="es-ES_tradnl" sz="1600">
                <a:solidFill>
                  <a:srgbClr val="002060"/>
                </a:solidFill>
                <a:latin typeface="Arial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colesterol total 250 mg/</a:t>
            </a:r>
            <a:r>
              <a:rPr lang="es-ES_tradnl" sz="1600" err="1">
                <a:solidFill>
                  <a:srgbClr val="002060"/>
                </a:solidFill>
                <a:latin typeface="Arial"/>
              </a:rPr>
              <a:t>dL</a:t>
            </a:r>
            <a:endParaRPr lang="es-ES_tradnl" sz="1600">
              <a:solidFill>
                <a:srgbClr val="002060"/>
              </a:solidFill>
              <a:latin typeface="Arial"/>
            </a:endParaRPr>
          </a:p>
          <a:p>
            <a:pPr marL="742950" lvl="1" indent="-285750">
              <a:buFont typeface="Arial" panose="020B0604020202020204" pitchFamily="34" charset="0"/>
              <a:buChar char="–"/>
            </a:pPr>
            <a:r>
              <a:rPr lang="es-ES_tradnl" sz="1600">
                <a:solidFill>
                  <a:srgbClr val="002060"/>
                </a:solidFill>
                <a:latin typeface="Arial"/>
              </a:rPr>
              <a:t>c-HDL 47 mg/</a:t>
            </a:r>
            <a:r>
              <a:rPr lang="es-ES_tradnl" sz="1600" err="1">
                <a:solidFill>
                  <a:srgbClr val="002060"/>
                </a:solidFill>
                <a:latin typeface="Arial"/>
              </a:rPr>
              <a:t>dL</a:t>
            </a:r>
            <a:endParaRPr lang="es-ES_tradnl" sz="160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18" name="Imagen 17" descr="Interfaz de usuario gráfica, Aplicación, Word&#10;&#10;Descripción generada automáticamente">
            <a:extLst>
              <a:ext uri="{FF2B5EF4-FFF2-40B4-BE49-F238E27FC236}">
                <a16:creationId xmlns:a16="http://schemas.microsoft.com/office/drawing/2014/main" id="{6D29CCA3-0A57-C331-7082-A44304578F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9" b="33595"/>
          <a:stretch/>
        </p:blipFill>
        <p:spPr>
          <a:xfrm>
            <a:off x="9290061" y="2715099"/>
            <a:ext cx="2702753" cy="3506407"/>
          </a:xfrm>
          <a:prstGeom prst="rect">
            <a:avLst/>
          </a:prstGeom>
        </p:spPr>
      </p:pic>
      <p:sp>
        <p:nvSpPr>
          <p:cNvPr id="19" name="Elipse 18">
            <a:extLst>
              <a:ext uri="{FF2B5EF4-FFF2-40B4-BE49-F238E27FC236}">
                <a16:creationId xmlns:a16="http://schemas.microsoft.com/office/drawing/2014/main" id="{8E4B83DC-25E6-B23A-F640-A3D0D2C5EEDC}"/>
              </a:ext>
            </a:extLst>
          </p:cNvPr>
          <p:cNvSpPr/>
          <p:nvPr/>
        </p:nvSpPr>
        <p:spPr>
          <a:xfrm>
            <a:off x="9493624" y="3621741"/>
            <a:ext cx="1155032" cy="1159920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Google Shape;254;p18">
            <a:extLst>
              <a:ext uri="{FF2B5EF4-FFF2-40B4-BE49-F238E27FC236}">
                <a16:creationId xmlns:a16="http://schemas.microsoft.com/office/drawing/2014/main" id="{8997D740-752B-60AD-FA27-47D89FC89B19}"/>
              </a:ext>
            </a:extLst>
          </p:cNvPr>
          <p:cNvSpPr/>
          <p:nvPr/>
        </p:nvSpPr>
        <p:spPr>
          <a:xfrm>
            <a:off x="4394200" y="3639351"/>
            <a:ext cx="808566" cy="718073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5" name="Google Shape;255;p18">
            <a:extLst>
              <a:ext uri="{FF2B5EF4-FFF2-40B4-BE49-F238E27FC236}">
                <a16:creationId xmlns:a16="http://schemas.microsoft.com/office/drawing/2014/main" id="{13219D57-61BA-C241-7682-2524C6780B18}"/>
              </a:ext>
            </a:extLst>
          </p:cNvPr>
          <p:cNvSpPr/>
          <p:nvPr/>
        </p:nvSpPr>
        <p:spPr>
          <a:xfrm>
            <a:off x="6317688" y="4586040"/>
            <a:ext cx="1534800" cy="15348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400">
                <a:latin typeface="Montserrat Medium"/>
                <a:ea typeface="Montserrat Medium"/>
                <a:cs typeface="Montserrat Medium"/>
                <a:sym typeface="Montserrat Medium"/>
              </a:rPr>
              <a:t> </a:t>
            </a:r>
            <a:endParaRPr sz="2400"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0" name="Google Shape;256;p18">
            <a:extLst>
              <a:ext uri="{FF2B5EF4-FFF2-40B4-BE49-F238E27FC236}">
                <a16:creationId xmlns:a16="http://schemas.microsoft.com/office/drawing/2014/main" id="{C13032A0-DC22-27B7-A144-E3E45ACEC71E}"/>
              </a:ext>
            </a:extLst>
          </p:cNvPr>
          <p:cNvSpPr/>
          <p:nvPr/>
        </p:nvSpPr>
        <p:spPr>
          <a:xfrm>
            <a:off x="6508084" y="4776440"/>
            <a:ext cx="1154000" cy="115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3" name="Google Shape;288;p18">
            <a:extLst>
              <a:ext uri="{FF2B5EF4-FFF2-40B4-BE49-F238E27FC236}">
                <a16:creationId xmlns:a16="http://schemas.microsoft.com/office/drawing/2014/main" id="{A48AF157-D824-71B6-87AF-D7CE081491AC}"/>
              </a:ext>
            </a:extLst>
          </p:cNvPr>
          <p:cNvSpPr/>
          <p:nvPr/>
        </p:nvSpPr>
        <p:spPr>
          <a:xfrm>
            <a:off x="3947376" y="4203792"/>
            <a:ext cx="607690" cy="728664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24036FA0-D33D-1999-0728-6C5455B0DE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0812" y="3710095"/>
            <a:ext cx="541426" cy="541426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5CF91C5E-1D0D-6592-5A1A-F050BEA5C0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0025" y="4155021"/>
            <a:ext cx="645438" cy="645438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ABFB1677-2C38-A620-2BFD-B465559052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8726" y="4923235"/>
            <a:ext cx="826626" cy="826626"/>
          </a:xfrm>
          <a:prstGeom prst="rect">
            <a:avLst/>
          </a:prstGeom>
        </p:spPr>
      </p:pic>
      <p:sp>
        <p:nvSpPr>
          <p:cNvPr id="27" name="Google Shape;254;p18">
            <a:extLst>
              <a:ext uri="{FF2B5EF4-FFF2-40B4-BE49-F238E27FC236}">
                <a16:creationId xmlns:a16="http://schemas.microsoft.com/office/drawing/2014/main" id="{CD874483-E24C-51C4-1AA1-E4832CF628EA}"/>
              </a:ext>
            </a:extLst>
          </p:cNvPr>
          <p:cNvSpPr/>
          <p:nvPr/>
        </p:nvSpPr>
        <p:spPr>
          <a:xfrm>
            <a:off x="2228073" y="3374765"/>
            <a:ext cx="726794" cy="54789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ABF7812E-6250-53D0-5A16-5C71E5679E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8859" y="3409482"/>
            <a:ext cx="460499" cy="46049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6252994C-C73F-EE0F-DF3E-5C0176E16F0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315" t="14641" r="11539" b="10749"/>
          <a:stretch/>
        </p:blipFill>
        <p:spPr>
          <a:xfrm>
            <a:off x="9395011" y="70751"/>
            <a:ext cx="2534823" cy="2526521"/>
          </a:xfrm>
          <a:prstGeom prst="flowChartConnector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7C5019D2-E678-B02A-8E33-BD6AFC827843}"/>
              </a:ext>
            </a:extLst>
          </p:cNvPr>
          <p:cNvSpPr txBox="1"/>
          <p:nvPr/>
        </p:nvSpPr>
        <p:spPr>
          <a:xfrm>
            <a:off x="197531" y="6393460"/>
            <a:ext cx="219258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s-ES_tradnl" sz="1600" b="1" dirty="0">
                <a:solidFill>
                  <a:schemeClr val="accent1"/>
                </a:solidFill>
              </a:rPr>
              <a:t>C</a:t>
            </a:r>
            <a:r>
              <a:rPr lang="es-ES" sz="1600" b="1" dirty="0">
                <a:solidFill>
                  <a:schemeClr val="accent1"/>
                </a:solidFill>
              </a:rPr>
              <a:t>aso clínico ficticio</a:t>
            </a:r>
          </a:p>
        </p:txBody>
      </p:sp>
    </p:spTree>
    <p:extLst>
      <p:ext uri="{BB962C8B-B14F-4D97-AF65-F5344CB8AC3E}">
        <p14:creationId xmlns:p14="http://schemas.microsoft.com/office/powerpoint/2010/main" val="324665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8FDE8CC2-6E76-EF74-DD6E-ED0A645B73E9}"/>
              </a:ext>
            </a:extLst>
          </p:cNvPr>
          <p:cNvSpPr/>
          <p:nvPr/>
        </p:nvSpPr>
        <p:spPr>
          <a:xfrm>
            <a:off x="101600" y="725678"/>
            <a:ext cx="11988800" cy="4778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iesgo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V alto: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aciente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joven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aparentemente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8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sano</a:t>
            </a:r>
            <a:r>
              <a:rPr lang="en-US" sz="28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4345" name="Marcador de contenido 5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818F401E-F8DB-7BC0-2124-0C9DE30C7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30" b="35333"/>
          <a:stretch>
            <a:fillRect/>
          </a:stretch>
        </p:blipFill>
        <p:spPr bwMode="auto">
          <a:xfrm>
            <a:off x="671854" y="4722427"/>
            <a:ext cx="1570626" cy="206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2BB1B45-C711-26ED-43B2-E6823977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480" y="4870398"/>
            <a:ext cx="4293725" cy="615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9" descr="Imagen que contiene Gráfico de dispersión&#10;&#10;Descripción generada automáticamente">
            <a:extLst>
              <a:ext uri="{FF2B5EF4-FFF2-40B4-BE49-F238E27FC236}">
                <a16:creationId xmlns:a16="http://schemas.microsoft.com/office/drawing/2014/main" id="{5F4AC9C9-3C3C-D1F5-B60E-7ADC68F2C4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3" b="3200"/>
          <a:stretch/>
        </p:blipFill>
        <p:spPr>
          <a:xfrm>
            <a:off x="1232128" y="1323258"/>
            <a:ext cx="1709514" cy="3357366"/>
          </a:xfrm>
          <a:prstGeom prst="rect">
            <a:avLst/>
          </a:prstGeom>
        </p:spPr>
      </p:pic>
      <p:pic>
        <p:nvPicPr>
          <p:cNvPr id="11" name="Imagen 10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927F6781-8387-97A6-BE2E-D187E5270D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2" b="3201"/>
          <a:stretch/>
        </p:blipFill>
        <p:spPr>
          <a:xfrm>
            <a:off x="4773917" y="1304456"/>
            <a:ext cx="1709514" cy="3357367"/>
          </a:xfrm>
          <a:prstGeom prst="rect">
            <a:avLst/>
          </a:prstGeom>
        </p:spPr>
      </p:pic>
      <p:pic>
        <p:nvPicPr>
          <p:cNvPr id="13" name="Imagen 12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B1E3D067-ECC5-65BB-E43A-A646621071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3" b="3200"/>
          <a:stretch/>
        </p:blipFill>
        <p:spPr>
          <a:xfrm>
            <a:off x="2999683" y="1309833"/>
            <a:ext cx="1709514" cy="3357367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48B0703-4A28-2F75-EE14-586A340069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315" t="14641" r="11539" b="10749"/>
          <a:stretch/>
        </p:blipFill>
        <p:spPr>
          <a:xfrm>
            <a:off x="10555468" y="52191"/>
            <a:ext cx="1571445" cy="1566298"/>
          </a:xfrm>
          <a:prstGeom prst="flowChartConnector">
            <a:avLst/>
          </a:prstGeom>
        </p:spPr>
      </p:pic>
      <p:sp>
        <p:nvSpPr>
          <p:cNvPr id="2" name="CuadroTexto 17">
            <a:extLst>
              <a:ext uri="{FF2B5EF4-FFF2-40B4-BE49-F238E27FC236}">
                <a16:creationId xmlns:a16="http://schemas.microsoft.com/office/drawing/2014/main" id="{9901B9E5-2AF8-B1B3-26BE-F4CF7ACAC8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7667" y="5814673"/>
            <a:ext cx="939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0070C0"/>
                </a:solidFill>
              </a:rPr>
              <a:t>RCV Alto!!!</a:t>
            </a:r>
            <a:endParaRPr lang="es-ES" altLang="es-ES" sz="2000" b="1" dirty="0">
              <a:solidFill>
                <a:srgbClr val="0070C0"/>
              </a:solidFill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DDC97AE1-0B54-6017-9C93-D105F213BB7D}"/>
              </a:ext>
            </a:extLst>
          </p:cNvPr>
          <p:cNvSpPr/>
          <p:nvPr/>
        </p:nvSpPr>
        <p:spPr>
          <a:xfrm>
            <a:off x="2620544" y="5844325"/>
            <a:ext cx="770965" cy="681740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85C4F45C-B5FC-E2B6-B08E-7CD0E5999EF2}"/>
              </a:ext>
            </a:extLst>
          </p:cNvPr>
          <p:cNvCxnSpPr>
            <a:cxnSpLocks/>
          </p:cNvCxnSpPr>
          <p:nvPr/>
        </p:nvCxnSpPr>
        <p:spPr>
          <a:xfrm flipV="1">
            <a:off x="1776600" y="6303586"/>
            <a:ext cx="843944" cy="121012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7">
            <a:extLst>
              <a:ext uri="{FF2B5EF4-FFF2-40B4-BE49-F238E27FC236}">
                <a16:creationId xmlns:a16="http://schemas.microsoft.com/office/drawing/2014/main" id="{86DF78B1-E34D-F20B-DD13-DD578A4155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5483" y="5968561"/>
            <a:ext cx="9396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FF0000"/>
                </a:solidFill>
              </a:rPr>
              <a:t>5,3%</a:t>
            </a:r>
            <a:endParaRPr lang="es-ES" altLang="es-ES" sz="2000" b="1" dirty="0">
              <a:solidFill>
                <a:srgbClr val="FF0000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8EC83A7-44FF-7714-5B75-C8C65C67DAF9}"/>
              </a:ext>
            </a:extLst>
          </p:cNvPr>
          <p:cNvSpPr txBox="1"/>
          <p:nvPr/>
        </p:nvSpPr>
        <p:spPr>
          <a:xfrm>
            <a:off x="6863612" y="1442023"/>
            <a:ext cx="4171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_tradnl" b="1" dirty="0">
                <a:solidFill>
                  <a:schemeClr val="tx1">
                    <a:lumMod val="50000"/>
                  </a:schemeClr>
                </a:solidFill>
              </a:rPr>
              <a:t>Acciones a tomar en este paciente:</a:t>
            </a:r>
          </a:p>
        </p:txBody>
      </p:sp>
      <p:graphicFrame>
        <p:nvGraphicFramePr>
          <p:cNvPr id="18" name="Diagrama 17">
            <a:extLst>
              <a:ext uri="{FF2B5EF4-FFF2-40B4-BE49-F238E27FC236}">
                <a16:creationId xmlns:a16="http://schemas.microsoft.com/office/drawing/2014/main" id="{19B96072-A3DE-1A37-E3D0-715558D2AF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3066646"/>
              </p:ext>
            </p:extLst>
          </p:nvPr>
        </p:nvGraphicFramePr>
        <p:xfrm>
          <a:off x="6834205" y="2009282"/>
          <a:ext cx="5139650" cy="4283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1" name="CuadroTexto 20">
            <a:extLst>
              <a:ext uri="{FF2B5EF4-FFF2-40B4-BE49-F238E27FC236}">
                <a16:creationId xmlns:a16="http://schemas.microsoft.com/office/drawing/2014/main" id="{72FC01DA-0B4E-D589-E480-4D1823CE0190}"/>
              </a:ext>
            </a:extLst>
          </p:cNvPr>
          <p:cNvSpPr txBox="1"/>
          <p:nvPr/>
        </p:nvSpPr>
        <p:spPr>
          <a:xfrm>
            <a:off x="6851424" y="2131383"/>
            <a:ext cx="3744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1. Aplicarle la escala SCORE2 para calcular su RCV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43A8AE3-8128-4D76-3354-B661946860AA}"/>
              </a:ext>
            </a:extLst>
          </p:cNvPr>
          <p:cNvSpPr txBox="1"/>
          <p:nvPr/>
        </p:nvSpPr>
        <p:spPr>
          <a:xfrm>
            <a:off x="7203344" y="2992015"/>
            <a:ext cx="3744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2. Consejos de cambios de estilo de vida: diete, ejercicio, y dejar de fumar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E92F486D-CA34-6924-68F5-AB7704631326}"/>
              </a:ext>
            </a:extLst>
          </p:cNvPr>
          <p:cNvSpPr txBox="1"/>
          <p:nvPr/>
        </p:nvSpPr>
        <p:spPr>
          <a:xfrm>
            <a:off x="7479789" y="3901597"/>
            <a:ext cx="3744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3. Instaurar un tratamiento para controlar su hipertensión arterial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5C5B65A3-17BD-3234-B873-B7D6F22DEBF9}"/>
              </a:ext>
            </a:extLst>
          </p:cNvPr>
          <p:cNvSpPr txBox="1"/>
          <p:nvPr/>
        </p:nvSpPr>
        <p:spPr>
          <a:xfrm>
            <a:off x="7766659" y="4850843"/>
            <a:ext cx="3923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4. Instaurar una estatina de alta intensidad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D220CAB3-A345-F422-E261-8FC418AD06D8}"/>
              </a:ext>
            </a:extLst>
          </p:cNvPr>
          <p:cNvSpPr txBox="1"/>
          <p:nvPr/>
        </p:nvSpPr>
        <p:spPr>
          <a:xfrm>
            <a:off x="8050542" y="5554475"/>
            <a:ext cx="39233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5. Analítica de control y seguimiento de cifras de c-LDL para comprobar que están en objetivos en 3 mese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593C07E-F61A-1525-0347-F4E7C3D8BCAB}"/>
              </a:ext>
            </a:extLst>
          </p:cNvPr>
          <p:cNvSpPr txBox="1"/>
          <p:nvPr/>
        </p:nvSpPr>
        <p:spPr>
          <a:xfrm>
            <a:off x="4392403" y="5870712"/>
            <a:ext cx="35908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pt-BR" sz="7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.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  <a:p>
            <a:pPr marL="228600" indent="-228600">
              <a:buAutoNum type="arabicPeriod"/>
            </a:pPr>
            <a:r>
              <a:rPr lang="pt-BR" sz="700" b="0" i="1" dirty="0" err="1">
                <a:solidFill>
                  <a:schemeClr val="accent1"/>
                </a:solidFill>
                <a:effectLst/>
              </a:rPr>
              <a:t>Visseren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F, et al. 2021 ESC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Guidelines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on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cardiovascular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disease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prevention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in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linica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practice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uropean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Hear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Journa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(2021) 42, 32273337 doi:10.1093/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/ehab484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00CE8A9D-25D6-E2FE-1FAA-6031DDAD0721}"/>
              </a:ext>
            </a:extLst>
          </p:cNvPr>
          <p:cNvSpPr txBox="1">
            <a:spLocks/>
          </p:cNvSpPr>
          <p:nvPr/>
        </p:nvSpPr>
        <p:spPr>
          <a:xfrm>
            <a:off x="203200" y="1744663"/>
            <a:ext cx="5248275" cy="44780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67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s-ES" sz="2000" b="1" dirty="0">
                <a:solidFill>
                  <a:srgbClr val="6F6F6F"/>
                </a:solidFill>
                <a:latin typeface="Arial"/>
              </a:rPr>
              <a:t>, </a:t>
            </a:r>
          </a:p>
          <a:p>
            <a:pPr lvl="1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s-ES" sz="2000" dirty="0">
              <a:solidFill>
                <a:srgbClr val="6F6F6F"/>
              </a:solidFill>
              <a:latin typeface="Arial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25A8A26-3868-45BE-F8A9-CDE32C8F9C53}"/>
              </a:ext>
            </a:extLst>
          </p:cNvPr>
          <p:cNvSpPr/>
          <p:nvPr/>
        </p:nvSpPr>
        <p:spPr>
          <a:xfrm>
            <a:off x="101600" y="808038"/>
            <a:ext cx="11988800" cy="72231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2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iesgo</a:t>
            </a:r>
            <a:r>
              <a:rPr lang="en-US" sz="2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V </a:t>
            </a:r>
            <a:r>
              <a:rPr lang="en-US" sz="2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muy</a:t>
            </a:r>
            <a:r>
              <a:rPr lang="en-US" sz="2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alto: </a:t>
            </a:r>
            <a:r>
              <a:rPr lang="en-US" sz="2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paciente</a:t>
            </a:r>
            <a:r>
              <a:rPr lang="en-US" sz="2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con ECVA </a:t>
            </a:r>
            <a:r>
              <a:rPr lang="en-US" sz="2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stablecida</a:t>
            </a:r>
            <a:endParaRPr lang="en-US" sz="2200" b="1" dirty="0">
              <a:solidFill>
                <a:srgbClr val="00F0B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65912A38-2CDF-3E4A-4D94-D8C7E0A1C285}"/>
              </a:ext>
            </a:extLst>
          </p:cNvPr>
          <p:cNvCxnSpPr/>
          <p:nvPr/>
        </p:nvCxnSpPr>
        <p:spPr>
          <a:xfrm flipH="1">
            <a:off x="500063" y="3279775"/>
            <a:ext cx="432117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5" name="Imagen 9">
            <a:extLst>
              <a:ext uri="{FF2B5EF4-FFF2-40B4-BE49-F238E27FC236}">
                <a16:creationId xmlns:a16="http://schemas.microsoft.com/office/drawing/2014/main" id="{66A46E9E-6B9A-DA69-CE39-B4827444C4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81" t="12358"/>
          <a:stretch>
            <a:fillRect/>
          </a:stretch>
        </p:blipFill>
        <p:spPr bwMode="auto">
          <a:xfrm>
            <a:off x="307975" y="1871663"/>
            <a:ext cx="992188" cy="1227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6" name="Imagen 10">
            <a:extLst>
              <a:ext uri="{FF2B5EF4-FFF2-40B4-BE49-F238E27FC236}">
                <a16:creationId xmlns:a16="http://schemas.microsoft.com/office/drawing/2014/main" id="{6C6A400F-71D1-17E5-374C-72F5A3B03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0163" y="1744663"/>
            <a:ext cx="3543300" cy="72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F137351-912A-1021-EAD1-FE2CC4162C7A}"/>
              </a:ext>
            </a:extLst>
          </p:cNvPr>
          <p:cNvSpPr txBox="1"/>
          <p:nvPr/>
        </p:nvSpPr>
        <p:spPr>
          <a:xfrm>
            <a:off x="1336675" y="2513013"/>
            <a:ext cx="4549775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ES_tradnl" sz="1600" b="1" dirty="0">
                <a:solidFill>
                  <a:schemeClr val="accent5">
                    <a:lumMod val="75000"/>
                  </a:schemeClr>
                </a:solidFill>
              </a:rPr>
              <a:t>NOMBRE: Fernando / EDAD: 58 AÑOS</a:t>
            </a:r>
            <a:endParaRPr lang="es-ES" sz="1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368" name="CuadroTexto 13">
            <a:extLst>
              <a:ext uri="{FF2B5EF4-FFF2-40B4-BE49-F238E27FC236}">
                <a16:creationId xmlns:a16="http://schemas.microsoft.com/office/drawing/2014/main" id="{9D9B10F0-0076-626B-C560-BAA2D7C167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6675" y="2765425"/>
            <a:ext cx="41148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1600" b="1">
                <a:solidFill>
                  <a:schemeClr val="accent1"/>
                </a:solidFill>
              </a:rPr>
              <a:t>Trabaja como profesor de instituto</a:t>
            </a:r>
          </a:p>
        </p:txBody>
      </p:sp>
      <p:sp>
        <p:nvSpPr>
          <p:cNvPr id="15369" name="CuadroTexto 8">
            <a:extLst>
              <a:ext uri="{FF2B5EF4-FFF2-40B4-BE49-F238E27FC236}">
                <a16:creationId xmlns:a16="http://schemas.microsoft.com/office/drawing/2014/main" id="{74B7A673-FF5E-AFEC-90EA-1A50534D4D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063" y="3460750"/>
            <a:ext cx="4481512" cy="263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Infarto previo hace 5 años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es-ES_tradnl" altLang="es-ES" sz="15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HTA mal controlada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es-ES_tradnl" altLang="es-ES" sz="15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ES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Fumador habitual (20 cigarrillos/día) 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es-ES" altLang="es-ES" sz="15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MAP detecta:</a:t>
            </a:r>
          </a:p>
          <a:p>
            <a:pPr lvl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–"/>
            </a:pP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c-LDL 170 mg/</a:t>
            </a:r>
            <a:r>
              <a:rPr lang="es-ES_tradnl" altLang="es-ES" sz="1500" dirty="0" err="1">
                <a:solidFill>
                  <a:srgbClr val="002060"/>
                </a:solidFill>
                <a:latin typeface="Arial" panose="020B0604020202020204" pitchFamily="34" charset="0"/>
              </a:rPr>
              <a:t>dL</a:t>
            </a: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</a:p>
          <a:p>
            <a:pPr lvl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–"/>
            </a:pP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colesterol total 225 mg/</a:t>
            </a:r>
            <a:r>
              <a:rPr lang="es-ES_tradnl" altLang="es-ES" sz="1500" dirty="0" err="1">
                <a:solidFill>
                  <a:srgbClr val="002060"/>
                </a:solidFill>
                <a:latin typeface="Arial" panose="020B0604020202020204" pitchFamily="34" charset="0"/>
              </a:rPr>
              <a:t>dL</a:t>
            </a:r>
            <a:endParaRPr lang="es-ES_tradnl" altLang="es-ES" sz="15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lvl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–"/>
            </a:pPr>
            <a:r>
              <a:rPr lang="es-ES_tradnl" altLang="es-ES" sz="1500" dirty="0">
                <a:solidFill>
                  <a:srgbClr val="002060"/>
                </a:solidFill>
                <a:latin typeface="Arial" panose="020B0604020202020204" pitchFamily="34" charset="0"/>
              </a:rPr>
              <a:t>c-HDL 45 mg/</a:t>
            </a:r>
            <a:r>
              <a:rPr lang="es-ES_tradnl" altLang="es-ES" sz="1500" dirty="0" err="1">
                <a:solidFill>
                  <a:srgbClr val="002060"/>
                </a:solidFill>
                <a:latin typeface="Arial" panose="020B0604020202020204" pitchFamily="34" charset="0"/>
              </a:rPr>
              <a:t>dL</a:t>
            </a:r>
            <a:endParaRPr lang="es-ES_tradnl" altLang="es-ES" sz="15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es-ES_tradnl" altLang="es-ES" sz="15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2CF02EA-F884-C9F3-A721-0FA97010EC76}"/>
              </a:ext>
            </a:extLst>
          </p:cNvPr>
          <p:cNvSpPr txBox="1"/>
          <p:nvPr/>
        </p:nvSpPr>
        <p:spPr>
          <a:xfrm>
            <a:off x="5999162" y="1744663"/>
            <a:ext cx="5756275" cy="4001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rgbClr val="002060"/>
                </a:solidFill>
                <a:latin typeface="Graphik-Semibold"/>
              </a:rPr>
              <a:t>El paciente con ECVA establecida es de muy alto RCV</a:t>
            </a:r>
            <a:endParaRPr lang="es-ES" sz="2000" b="1" dirty="0">
              <a:solidFill>
                <a:srgbClr val="002060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D76E560-CBC3-006A-5ABC-33F03D5CA9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725" t="19215" r="9373" b="10783"/>
          <a:stretch/>
        </p:blipFill>
        <p:spPr>
          <a:xfrm>
            <a:off x="10470776" y="158407"/>
            <a:ext cx="1544918" cy="1540326"/>
          </a:xfrm>
          <a:prstGeom prst="flowChartConnector">
            <a:avLst/>
          </a:prstGeom>
        </p:spPr>
      </p:pic>
      <p:grpSp>
        <p:nvGrpSpPr>
          <p:cNvPr id="15372" name="Grupo 4">
            <a:extLst>
              <a:ext uri="{FF2B5EF4-FFF2-40B4-BE49-F238E27FC236}">
                <a16:creationId xmlns:a16="http://schemas.microsoft.com/office/drawing/2014/main" id="{583E8B30-D5B7-C3B0-6B75-524BC0813759}"/>
              </a:ext>
            </a:extLst>
          </p:cNvPr>
          <p:cNvGrpSpPr>
            <a:grpSpLocks/>
          </p:cNvGrpSpPr>
          <p:nvPr/>
        </p:nvGrpSpPr>
        <p:grpSpPr bwMode="auto">
          <a:xfrm>
            <a:off x="3808413" y="4671720"/>
            <a:ext cx="1273175" cy="1550987"/>
            <a:chOff x="3568700" y="3167063"/>
            <a:chExt cx="1273175" cy="1550987"/>
          </a:xfrm>
        </p:grpSpPr>
        <p:pic>
          <p:nvPicPr>
            <p:cNvPr id="15375" name="Imagen 17" descr="Interfaz de usuario gráfica, Aplicación, Word&#10;&#10;Descripción generada automáticamente">
              <a:extLst>
                <a:ext uri="{FF2B5EF4-FFF2-40B4-BE49-F238E27FC236}">
                  <a16:creationId xmlns:a16="http://schemas.microsoft.com/office/drawing/2014/main" id="{6D2DB201-F017-3DBE-8815-6B0B7D8E54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458" t="22733" r="51625" b="63260"/>
            <a:stretch>
              <a:fillRect/>
            </a:stretch>
          </p:blipFill>
          <p:spPr bwMode="auto">
            <a:xfrm>
              <a:off x="3611563" y="3397250"/>
              <a:ext cx="1209675" cy="1030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6" name="Imagen 22">
              <a:extLst>
                <a:ext uri="{FF2B5EF4-FFF2-40B4-BE49-F238E27FC236}">
                  <a16:creationId xmlns:a16="http://schemas.microsoft.com/office/drawing/2014/main" id="{9FCE1C2C-5B75-0A76-6B7D-030041E38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102" t="24004" r="28961" b="26111"/>
            <a:stretch>
              <a:fillRect/>
            </a:stretch>
          </p:blipFill>
          <p:spPr bwMode="auto">
            <a:xfrm>
              <a:off x="3568700" y="3167063"/>
              <a:ext cx="1273175" cy="1550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373" name="Imagen 16">
            <a:extLst>
              <a:ext uri="{FF2B5EF4-FFF2-40B4-BE49-F238E27FC236}">
                <a16:creationId xmlns:a16="http://schemas.microsoft.com/office/drawing/2014/main" id="{52F5A032-CA8E-DE62-50F0-652A2EA0C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44" b="73868"/>
          <a:stretch>
            <a:fillRect/>
          </a:stretch>
        </p:blipFill>
        <p:spPr bwMode="auto">
          <a:xfrm>
            <a:off x="5871511" y="2236633"/>
            <a:ext cx="5843588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4D74D7F4-8494-3B2E-8C23-82FBD588E185}"/>
              </a:ext>
            </a:extLst>
          </p:cNvPr>
          <p:cNvSpPr txBox="1"/>
          <p:nvPr/>
        </p:nvSpPr>
        <p:spPr>
          <a:xfrm>
            <a:off x="5946804" y="3278939"/>
            <a:ext cx="4171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_tradnl" b="1" dirty="0">
                <a:solidFill>
                  <a:schemeClr val="tx1">
                    <a:lumMod val="50000"/>
                  </a:schemeClr>
                </a:solidFill>
              </a:rPr>
              <a:t>Acciones a tomar en este paciente:</a:t>
            </a: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4C200742-28F8-C46C-88E4-7269444A05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50922"/>
              </p:ext>
            </p:extLst>
          </p:nvPr>
        </p:nvGraphicFramePr>
        <p:xfrm>
          <a:off x="6262319" y="3337822"/>
          <a:ext cx="5139650" cy="4283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CuadroTexto 7">
            <a:extLst>
              <a:ext uri="{FF2B5EF4-FFF2-40B4-BE49-F238E27FC236}">
                <a16:creationId xmlns:a16="http://schemas.microsoft.com/office/drawing/2014/main" id="{4504C330-6A50-6826-73D3-F7C06E0E555C}"/>
              </a:ext>
            </a:extLst>
          </p:cNvPr>
          <p:cNvSpPr txBox="1"/>
          <p:nvPr/>
        </p:nvSpPr>
        <p:spPr>
          <a:xfrm>
            <a:off x="6448832" y="3722617"/>
            <a:ext cx="393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1. Recomendar incluir en un programa de deshabituación tabáquica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57498BD-D14F-8AC4-1422-6A1C5CC71907}"/>
              </a:ext>
            </a:extLst>
          </p:cNvPr>
          <p:cNvSpPr txBox="1"/>
          <p:nvPr/>
        </p:nvSpPr>
        <p:spPr>
          <a:xfrm>
            <a:off x="6706232" y="4721851"/>
            <a:ext cx="42665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ES" sz="1400" b="1" dirty="0">
                <a:solidFill>
                  <a:schemeClr val="bg1"/>
                </a:solidFill>
              </a:rPr>
              <a:t>2. Cambiar la estatina de alta intensidad en monoterapia, a una combinación de estatina de alta intensidad con </a:t>
            </a:r>
            <a:r>
              <a:rPr lang="es-ES" sz="1400" b="1" dirty="0" err="1">
                <a:solidFill>
                  <a:schemeClr val="bg1"/>
                </a:solidFill>
              </a:rPr>
              <a:t>ezetemibe</a:t>
            </a:r>
            <a:r>
              <a:rPr lang="es-ES" sz="1400" b="1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2BA2BF8-3B16-5817-69C6-70EDC64AF2FA}"/>
              </a:ext>
            </a:extLst>
          </p:cNvPr>
          <p:cNvSpPr txBox="1"/>
          <p:nvPr/>
        </p:nvSpPr>
        <p:spPr>
          <a:xfrm>
            <a:off x="7019503" y="5961097"/>
            <a:ext cx="35549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1"/>
                </a:solidFill>
              </a:rPr>
              <a:t>3. Analítica de control a los 3 meses para comprobar que está en objetiv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2FA2E37-091B-66F4-5253-7292014E5C93}"/>
              </a:ext>
            </a:extLst>
          </p:cNvPr>
          <p:cNvSpPr txBox="1"/>
          <p:nvPr/>
        </p:nvSpPr>
        <p:spPr>
          <a:xfrm>
            <a:off x="197531" y="6393460"/>
            <a:ext cx="219258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s-ES_tradnl" sz="1600" b="1" dirty="0">
                <a:solidFill>
                  <a:schemeClr val="accent1"/>
                </a:solidFill>
              </a:rPr>
              <a:t>C</a:t>
            </a:r>
            <a:r>
              <a:rPr lang="es-ES" sz="1600" b="1" dirty="0">
                <a:solidFill>
                  <a:schemeClr val="accent1"/>
                </a:solidFill>
              </a:rPr>
              <a:t>aso clínico ficticio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97F76BE-34B8-6A88-DD94-E96A47660725}"/>
              </a:ext>
            </a:extLst>
          </p:cNvPr>
          <p:cNvSpPr txBox="1"/>
          <p:nvPr/>
        </p:nvSpPr>
        <p:spPr>
          <a:xfrm>
            <a:off x="2390115" y="6335579"/>
            <a:ext cx="51396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pt-BR" sz="7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  <a:p>
            <a:pPr marL="228600" indent="-228600">
              <a:buAutoNum type="arabicPeriod"/>
            </a:pPr>
            <a:r>
              <a:rPr lang="pt-BR" sz="700" b="0" i="1" dirty="0" err="1">
                <a:solidFill>
                  <a:schemeClr val="accent1"/>
                </a:solidFill>
                <a:effectLst/>
              </a:rPr>
              <a:t>Visseren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F, et al.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uropean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Hear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Journa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(2021) 42, 32273337 doi:10.1093/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urheartj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/ehab484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16">
            <a:extLst>
              <a:ext uri="{FF2B5EF4-FFF2-40B4-BE49-F238E27FC236}">
                <a16:creationId xmlns:a16="http://schemas.microsoft.com/office/drawing/2014/main" id="{BC2C93CF-ED25-D377-B4B7-20BFFE429EF7}"/>
              </a:ext>
            </a:extLst>
          </p:cNvPr>
          <p:cNvSpPr/>
          <p:nvPr/>
        </p:nvSpPr>
        <p:spPr>
          <a:xfrm>
            <a:off x="581025" y="749300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2. Evitar la inercia terapéutica</a:t>
            </a: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888FDFC8-D49E-A9E2-022C-7DB497BF3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13" y="2251075"/>
            <a:ext cx="4725987" cy="24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8" name="CuadroTexto 3">
            <a:extLst>
              <a:ext uri="{FF2B5EF4-FFF2-40B4-BE49-F238E27FC236}">
                <a16:creationId xmlns:a16="http://schemas.microsoft.com/office/drawing/2014/main" id="{2A1EB0E3-CBED-BD3A-4075-4C427812F5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8375" y="5262563"/>
            <a:ext cx="4594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i="1">
                <a:solidFill>
                  <a:schemeClr val="accent1"/>
                </a:solidFill>
              </a:rPr>
              <a:t>Pallarés-Carratalá, V, et al. Cardiovascular Risk in Patients with Dyslipidemia and Their Degree of Control as Perceived by Primary Care Physicians in a Survey—TERESAOpinion Study. Int. J. Environ. Res. Public Health 2023, 20, 2388. </a:t>
            </a:r>
          </a:p>
        </p:txBody>
      </p:sp>
      <p:sp>
        <p:nvSpPr>
          <p:cNvPr id="16389" name="CuadroTexto 17">
            <a:extLst>
              <a:ext uri="{FF2B5EF4-FFF2-40B4-BE49-F238E27FC236}">
                <a16:creationId xmlns:a16="http://schemas.microsoft.com/office/drawing/2014/main" id="{5BDD471A-2A2B-C6D1-C577-37D94F5B08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5263" y="1697038"/>
            <a:ext cx="38417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>
                <a:solidFill>
                  <a:srgbClr val="0070C0"/>
                </a:solidFill>
              </a:rPr>
              <a:t>% de pacientes según su RCV</a:t>
            </a:r>
            <a:endParaRPr lang="es-ES" altLang="es-ES" sz="2000" b="1">
              <a:solidFill>
                <a:srgbClr val="0070C0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78B53A5-8206-022C-B536-7914D9ACD109}"/>
              </a:ext>
            </a:extLst>
          </p:cNvPr>
          <p:cNvSpPr txBox="1"/>
          <p:nvPr/>
        </p:nvSpPr>
        <p:spPr>
          <a:xfrm>
            <a:off x="6492875" y="3802253"/>
            <a:ext cx="5340350" cy="7848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ES" sz="1500" b="1" dirty="0">
                <a:solidFill>
                  <a:schemeClr val="accent5"/>
                </a:solidFill>
                <a:ea typeface="Calibri" panose="020F0502020204030204" pitchFamily="34" charset="0"/>
              </a:rPr>
              <a:t>En el 58,7 % de los pacientes, la estrategia terapéutica más utilizada fue la estatina de potencia intermedia en monoterapia. </a:t>
            </a:r>
            <a:endParaRPr lang="es-ES" sz="1500" b="1" dirty="0">
              <a:solidFill>
                <a:schemeClr val="accent5"/>
              </a:solidFill>
            </a:endParaRPr>
          </a:p>
        </p:txBody>
      </p:sp>
      <p:sp>
        <p:nvSpPr>
          <p:cNvPr id="16391" name="CuadroTexto 17">
            <a:extLst>
              <a:ext uri="{FF2B5EF4-FFF2-40B4-BE49-F238E27FC236}">
                <a16:creationId xmlns:a16="http://schemas.microsoft.com/office/drawing/2014/main" id="{D6E8B374-BC75-05E4-7A71-CAD139E46E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8413" y="5662613"/>
            <a:ext cx="100869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400" b="1" dirty="0">
                <a:solidFill>
                  <a:srgbClr val="EE853E"/>
                </a:solidFill>
              </a:rPr>
              <a:t>Intensificación temprana con estatina de alta intensidad ± </a:t>
            </a:r>
            <a:r>
              <a:rPr lang="es-ES_tradnl" altLang="es-ES" sz="2400" b="1" dirty="0" err="1">
                <a:solidFill>
                  <a:srgbClr val="EE853E"/>
                </a:solidFill>
              </a:rPr>
              <a:t>ezetemibe</a:t>
            </a:r>
            <a:endParaRPr lang="es-ES" altLang="es-ES" sz="2400" b="1" dirty="0">
              <a:solidFill>
                <a:srgbClr val="EE853E"/>
              </a:solidFill>
            </a:endParaRPr>
          </a:p>
        </p:txBody>
      </p:sp>
      <p:pic>
        <p:nvPicPr>
          <p:cNvPr id="16392" name="Imagen 8">
            <a:extLst>
              <a:ext uri="{FF2B5EF4-FFF2-40B4-BE49-F238E27FC236}">
                <a16:creationId xmlns:a16="http://schemas.microsoft.com/office/drawing/2014/main" id="{6F24CAB8-4B29-26CB-E0AF-5CC4EAA9F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875" y="2346515"/>
            <a:ext cx="5097463" cy="137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0D2B5587-48CC-ED5C-998F-9CC470CEBABD}"/>
              </a:ext>
            </a:extLst>
          </p:cNvPr>
          <p:cNvSpPr txBox="1"/>
          <p:nvPr/>
        </p:nvSpPr>
        <p:spPr>
          <a:xfrm>
            <a:off x="6400799" y="1583531"/>
            <a:ext cx="5262283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lnSpc>
                <a:spcPct val="100000"/>
              </a:lnSpc>
              <a:buFontTx/>
              <a:buNone/>
              <a:defRPr sz="2000" b="1">
                <a:solidFill>
                  <a:srgbClr val="0070C0"/>
                </a:solidFill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9pPr>
          </a:lstStyle>
          <a:p>
            <a:pPr>
              <a:defRPr/>
            </a:pPr>
            <a:r>
              <a:rPr lang="es-ES" dirty="0"/>
              <a:t>Estrategias terapéuticas utilizadas </a:t>
            </a:r>
            <a:r>
              <a:rPr lang="es-ES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Estudio TERESA-AP</a:t>
            </a:r>
            <a:endParaRPr lang="es-ES" dirty="0"/>
          </a:p>
        </p:txBody>
      </p:sp>
      <p:sp>
        <p:nvSpPr>
          <p:cNvPr id="16394" name="CuadroTexto 12">
            <a:extLst>
              <a:ext uri="{FF2B5EF4-FFF2-40B4-BE49-F238E27FC236}">
                <a16:creationId xmlns:a16="http://schemas.microsoft.com/office/drawing/2014/main" id="{932693C0-ED20-BBEF-EEC9-E28B7F42BE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2875" y="4799202"/>
            <a:ext cx="48625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i="1" dirty="0" err="1">
                <a:solidFill>
                  <a:schemeClr val="accent1"/>
                </a:solidFill>
              </a:rPr>
              <a:t>Cinza</a:t>
            </a:r>
            <a:r>
              <a:rPr lang="es-ES" altLang="es-ES" sz="700" i="1" dirty="0">
                <a:solidFill>
                  <a:schemeClr val="accent1"/>
                </a:solidFill>
              </a:rPr>
              <a:t>-Sanjurjo </a:t>
            </a:r>
            <a:r>
              <a:rPr lang="es-ES" altLang="es-ES" sz="700" i="1" dirty="0" err="1">
                <a:solidFill>
                  <a:schemeClr val="accent1"/>
                </a:solidFill>
              </a:rPr>
              <a:t>S,et</a:t>
            </a:r>
            <a:r>
              <a:rPr lang="es-ES" altLang="es-ES" sz="700" i="1" dirty="0">
                <a:solidFill>
                  <a:schemeClr val="accent1"/>
                </a:solidFill>
              </a:rPr>
              <a:t> al.  </a:t>
            </a:r>
            <a:r>
              <a:rPr lang="es-ES" altLang="es-ES" sz="700" i="1" dirty="0" err="1">
                <a:solidFill>
                  <a:schemeClr val="accent1"/>
                </a:solidFill>
              </a:rPr>
              <a:t>Achievement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of</a:t>
            </a:r>
            <a:r>
              <a:rPr lang="es-ES" altLang="es-ES" sz="700" i="1" dirty="0">
                <a:solidFill>
                  <a:schemeClr val="accent1"/>
                </a:solidFill>
              </a:rPr>
              <a:t> LDL-</a:t>
            </a:r>
            <a:r>
              <a:rPr lang="es-ES" altLang="es-ES" sz="700" i="1" dirty="0" err="1">
                <a:solidFill>
                  <a:schemeClr val="accent1"/>
                </a:solidFill>
              </a:rPr>
              <a:t>Cholesterol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Goals</a:t>
            </a:r>
            <a:r>
              <a:rPr lang="es-ES" altLang="es-ES" sz="700" i="1" dirty="0">
                <a:solidFill>
                  <a:schemeClr val="accent1"/>
                </a:solidFill>
              </a:rPr>
              <a:t> in </a:t>
            </a:r>
            <a:r>
              <a:rPr lang="es-ES" altLang="es-ES" sz="700" i="1" dirty="0" err="1">
                <a:solidFill>
                  <a:schemeClr val="accent1"/>
                </a:solidFill>
              </a:rPr>
              <a:t>Patients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Receiving</a:t>
            </a:r>
            <a:r>
              <a:rPr lang="es-ES" altLang="es-ES" sz="700" i="1" dirty="0">
                <a:solidFill>
                  <a:schemeClr val="accent1"/>
                </a:solidFill>
              </a:rPr>
              <a:t> LLT in </a:t>
            </a:r>
            <a:r>
              <a:rPr lang="es-ES" altLang="es-ES" sz="700" i="1" dirty="0" err="1">
                <a:solidFill>
                  <a:schemeClr val="accent1"/>
                </a:solidFill>
              </a:rPr>
              <a:t>Primary</a:t>
            </a:r>
            <a:r>
              <a:rPr lang="es-ES" altLang="es-ES" sz="700" i="1" dirty="0">
                <a:solidFill>
                  <a:schemeClr val="accent1"/>
                </a:solidFill>
              </a:rPr>
              <a:t> Care: TERESA-AP </a:t>
            </a:r>
            <a:r>
              <a:rPr lang="es-ES" altLang="es-ES" sz="700" i="1" dirty="0" err="1">
                <a:solidFill>
                  <a:schemeClr val="accent1"/>
                </a:solidFill>
              </a:rPr>
              <a:t>Study</a:t>
            </a:r>
            <a:r>
              <a:rPr lang="es-ES" altLang="es-ES" sz="700" i="1" dirty="0">
                <a:solidFill>
                  <a:schemeClr val="accent1"/>
                </a:solidFill>
              </a:rPr>
              <a:t>. LDL-</a:t>
            </a:r>
            <a:r>
              <a:rPr lang="es-ES" altLang="es-ES" sz="700" i="1" dirty="0" err="1">
                <a:solidFill>
                  <a:schemeClr val="accent1"/>
                </a:solidFill>
              </a:rPr>
              <a:t>Cholesterol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Goals</a:t>
            </a:r>
            <a:r>
              <a:rPr lang="es-ES" altLang="es-ES" sz="700" i="1" dirty="0">
                <a:solidFill>
                  <a:schemeClr val="accent1"/>
                </a:solidFill>
              </a:rPr>
              <a:t> in </a:t>
            </a:r>
            <a:r>
              <a:rPr lang="es-ES" altLang="es-ES" sz="700" i="1" dirty="0" err="1">
                <a:solidFill>
                  <a:schemeClr val="accent1"/>
                </a:solidFill>
              </a:rPr>
              <a:t>Primary</a:t>
            </a:r>
            <a:r>
              <a:rPr lang="es-ES" altLang="es-ES" sz="700" i="1" dirty="0">
                <a:solidFill>
                  <a:schemeClr val="accent1"/>
                </a:solidFill>
              </a:rPr>
              <a:t> Care. 2024. Disponible en: </a:t>
            </a:r>
            <a:r>
              <a:rPr lang="es-ES" altLang="es-ES" sz="700" i="1" dirty="0">
                <a:solidFill>
                  <a:schemeClr val="accent1"/>
                </a:solidFill>
                <a:hlinkClick r:id="rId4"/>
              </a:rPr>
              <a:t>https://doi.org/10.1155/2024/4227941</a:t>
            </a:r>
            <a:endParaRPr lang="es-ES" altLang="es-ES" sz="700" i="1" dirty="0">
              <a:solidFill>
                <a:schemeClr val="accent1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C8DE935-E5B5-19BB-F9B6-93177C152253}"/>
              </a:ext>
            </a:extLst>
          </p:cNvPr>
          <p:cNvSpPr txBox="1"/>
          <p:nvPr/>
        </p:nvSpPr>
        <p:spPr>
          <a:xfrm>
            <a:off x="968375" y="4710113"/>
            <a:ext cx="5340350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ES" sz="1500" b="1" dirty="0">
                <a:solidFill>
                  <a:schemeClr val="accent5"/>
                </a:solidFill>
                <a:ea typeface="Calibri" panose="020F0502020204030204" pitchFamily="34" charset="0"/>
              </a:rPr>
              <a:t>La mayoría de los pacientes son de RCV alto/muy alto o de prevención secundaria. </a:t>
            </a:r>
            <a:endParaRPr lang="es-ES" sz="1500" b="1" dirty="0">
              <a:solidFill>
                <a:schemeClr val="accent5"/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6C0D95C-C6A5-AE38-2381-0B8BF4E3D770}"/>
              </a:ext>
            </a:extLst>
          </p:cNvPr>
          <p:cNvSpPr txBox="1"/>
          <p:nvPr/>
        </p:nvSpPr>
        <p:spPr>
          <a:xfrm>
            <a:off x="2679654" y="6492850"/>
            <a:ext cx="612466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s-ES"/>
            </a:defPPr>
            <a:lvl1pPr algn="ctr">
              <a:lnSpc>
                <a:spcPct val="100000"/>
              </a:lnSpc>
              <a:spcBef>
                <a:spcPct val="0"/>
              </a:spcBef>
              <a:buFontTx/>
              <a:buNone/>
              <a:defRPr sz="1600" b="1">
                <a:solidFill>
                  <a:srgbClr val="0070C0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sz="1100" dirty="0">
                <a:solidFill>
                  <a:schemeClr val="tx1">
                    <a:lumMod val="50000"/>
                  </a:schemeClr>
                </a:solidFill>
              </a:rPr>
              <a:t>Estudio patrocinado por Almirall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96B5C32-602A-4935-54CC-7E84E39319EF}"/>
              </a:ext>
            </a:extLst>
          </p:cNvPr>
          <p:cNvSpPr txBox="1"/>
          <p:nvPr/>
        </p:nvSpPr>
        <p:spPr>
          <a:xfrm>
            <a:off x="1894138" y="6036641"/>
            <a:ext cx="87116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8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800" b="0" i="1" dirty="0" err="1">
                <a:solidFill>
                  <a:schemeClr val="accent1"/>
                </a:solidFill>
                <a:effectLst/>
              </a:rPr>
              <a:t>at</a:t>
            </a:r>
            <a:r>
              <a:rPr lang="pt-BR" sz="8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8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. </a:t>
            </a:r>
            <a:r>
              <a:rPr lang="pt-BR" sz="8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8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8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8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8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8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16">
            <a:extLst>
              <a:ext uri="{FF2B5EF4-FFF2-40B4-BE49-F238E27FC236}">
                <a16:creationId xmlns:a16="http://schemas.microsoft.com/office/drawing/2014/main" id="{94300D47-06BB-2155-6A3F-05BF747E2F3D}"/>
              </a:ext>
            </a:extLst>
          </p:cNvPr>
          <p:cNvSpPr/>
          <p:nvPr/>
        </p:nvSpPr>
        <p:spPr>
          <a:xfrm>
            <a:off x="581025" y="749300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3. Ayudar a mejorar la adherencia de los pacientes</a:t>
            </a:r>
          </a:p>
        </p:txBody>
      </p:sp>
      <p:sp>
        <p:nvSpPr>
          <p:cNvPr id="17411" name="CuadroTexto 25">
            <a:extLst>
              <a:ext uri="{FF2B5EF4-FFF2-40B4-BE49-F238E27FC236}">
                <a16:creationId xmlns:a16="http://schemas.microsoft.com/office/drawing/2014/main" id="{E9BF4F70-F33E-9846-6320-5E2E09C2F4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8189" y="1521435"/>
            <a:ext cx="4337892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ES" altLang="es-ES" sz="1500" b="1" dirty="0">
                <a:solidFill>
                  <a:srgbClr val="5B9BD5"/>
                </a:solidFill>
                <a:cs typeface="Calibri" panose="020F0502020204030204" pitchFamily="34" charset="0"/>
              </a:rPr>
              <a:t>Los pacientes de RCV alto tienen tasas altas de discontinuación de tratamiento, y tasas bajas de adherencia</a:t>
            </a:r>
            <a:r>
              <a:rPr lang="es-ES" altLang="es-ES" sz="1500" b="1" baseline="30000" dirty="0">
                <a:solidFill>
                  <a:srgbClr val="5B9BD5"/>
                </a:solidFill>
                <a:cs typeface="Calibri" panose="020F0502020204030204" pitchFamily="34" charset="0"/>
              </a:rPr>
              <a:t>1</a:t>
            </a:r>
            <a:r>
              <a:rPr lang="es-ES" altLang="es-ES" sz="1500" b="1" dirty="0">
                <a:solidFill>
                  <a:srgbClr val="5B9BD5"/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17412" name="CuadroTexto 26">
            <a:extLst>
              <a:ext uri="{FF2B5EF4-FFF2-40B4-BE49-F238E27FC236}">
                <a16:creationId xmlns:a16="http://schemas.microsoft.com/office/drawing/2014/main" id="{779A3119-A980-EE6C-6C9E-7C10757B01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014" y="5323543"/>
            <a:ext cx="457106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i="1" dirty="0">
                <a:solidFill>
                  <a:schemeClr val="accent1"/>
                </a:solidFill>
              </a:rPr>
              <a:t>1. Lin I, Sung J. et al. </a:t>
            </a:r>
            <a:r>
              <a:rPr lang="en-US" altLang="es-ES" sz="700" i="1" dirty="0">
                <a:solidFill>
                  <a:schemeClr val="accent1"/>
                </a:solidFill>
              </a:rPr>
              <a:t>Patterns of Statin Use in a Real-World Population of Patients at High Cardiovascular Risk. J </a:t>
            </a:r>
            <a:r>
              <a:rPr lang="en-US" altLang="es-ES" sz="700" i="1" dirty="0" err="1">
                <a:solidFill>
                  <a:schemeClr val="accent1"/>
                </a:solidFill>
              </a:rPr>
              <a:t>Manag</a:t>
            </a:r>
            <a:r>
              <a:rPr lang="en-US" altLang="es-ES" sz="700" i="1" dirty="0">
                <a:solidFill>
                  <a:schemeClr val="accent1"/>
                </a:solidFill>
              </a:rPr>
              <a:t> Care Spec Pharm </a:t>
            </a:r>
            <a:r>
              <a:rPr lang="es-ES" altLang="es-ES" sz="700" i="1" dirty="0">
                <a:solidFill>
                  <a:schemeClr val="accent1"/>
                </a:solidFill>
              </a:rPr>
              <a:t>2016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doi</a:t>
            </a:r>
            <a:r>
              <a:rPr lang="es-ES" altLang="es-ES" sz="700" i="1" dirty="0">
                <a:solidFill>
                  <a:schemeClr val="accent1"/>
                </a:solidFill>
              </a:rPr>
              <a:t>: 10.18553/jmcp.2016.22.6.685 2. Pallarés-Carratalá, V, et al. </a:t>
            </a:r>
            <a:r>
              <a:rPr lang="en-US" altLang="es-ES" sz="700" i="1" dirty="0">
                <a:solidFill>
                  <a:schemeClr val="accent1"/>
                </a:solidFill>
              </a:rPr>
              <a:t>Cardiovascular Risk in Patients with Dyslipidemia and Their Degree of Control as Perceived by Primary Care Physicians in a Survey-TERESA-Opinion Study. </a:t>
            </a:r>
            <a:r>
              <a:rPr lang="es-ES" altLang="es-ES" sz="700" i="1" dirty="0">
                <a:solidFill>
                  <a:schemeClr val="accent1"/>
                </a:solidFill>
              </a:rPr>
              <a:t>Cardiovascular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Int</a:t>
            </a:r>
            <a:r>
              <a:rPr lang="es-ES" altLang="es-ES" sz="700" i="1" dirty="0">
                <a:solidFill>
                  <a:schemeClr val="accent1"/>
                </a:solidFill>
              </a:rPr>
              <a:t>. J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Environ</a:t>
            </a:r>
            <a:r>
              <a:rPr lang="es-ES" altLang="es-ES" sz="700" i="1" dirty="0">
                <a:solidFill>
                  <a:schemeClr val="accent1"/>
                </a:solidFill>
              </a:rPr>
              <a:t>. Res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Public</a:t>
            </a:r>
            <a:r>
              <a:rPr lang="es-ES" altLang="es-ES" sz="700" i="1" dirty="0">
                <a:solidFill>
                  <a:schemeClr val="accent1"/>
                </a:solidFill>
              </a:rPr>
              <a:t> </a:t>
            </a:r>
            <a:r>
              <a:rPr lang="es-ES" altLang="es-ES" sz="700" i="1" dirty="0" err="1">
                <a:solidFill>
                  <a:schemeClr val="accent1"/>
                </a:solidFill>
              </a:rPr>
              <a:t>Health</a:t>
            </a:r>
            <a:r>
              <a:rPr lang="es-ES" altLang="es-ES" sz="700" i="1" dirty="0">
                <a:solidFill>
                  <a:schemeClr val="accent1"/>
                </a:solidFill>
              </a:rPr>
              <a:t> 2023, 20, 2388. 3. Barrios, V. et al.</a:t>
            </a:r>
            <a:r>
              <a:rPr lang="en-US" altLang="es-ES" sz="700" i="1" dirty="0">
                <a:solidFill>
                  <a:schemeClr val="accent1"/>
                </a:solidFill>
              </a:rPr>
              <a:t> Real-World Attainment of Low-Density Lipoprotein Cholesterol Goals in Patients at High Risk of Cardiovascular Disease Treated with High-Intensity Statins: The TERESA Study.</a:t>
            </a:r>
            <a:r>
              <a:rPr lang="es-ES" altLang="es-ES" sz="700" i="1" dirty="0">
                <a:solidFill>
                  <a:schemeClr val="accent1"/>
                </a:solidFill>
              </a:rPr>
              <a:t> J Clin </a:t>
            </a:r>
            <a:r>
              <a:rPr lang="es-ES" altLang="es-ES" sz="700" i="1" dirty="0" err="1">
                <a:solidFill>
                  <a:schemeClr val="accent1"/>
                </a:solidFill>
              </a:rPr>
              <a:t>Med</a:t>
            </a:r>
            <a:r>
              <a:rPr lang="es-ES" altLang="es-ES" sz="700" i="1" dirty="0">
                <a:solidFill>
                  <a:schemeClr val="accent1"/>
                </a:solidFill>
              </a:rPr>
              <a:t>. </a:t>
            </a:r>
            <a:r>
              <a:rPr lang="en-US" altLang="es-ES" sz="700" i="1" dirty="0">
                <a:solidFill>
                  <a:schemeClr val="accent1"/>
                </a:solidFill>
              </a:rPr>
              <a:t>2023;12(9):3187; </a:t>
            </a:r>
            <a:r>
              <a:rPr lang="en-US" altLang="es-ES" sz="700" i="1" dirty="0" err="1">
                <a:solidFill>
                  <a:schemeClr val="accent1"/>
                </a:solidFill>
              </a:rPr>
              <a:t>doi</a:t>
            </a:r>
            <a:r>
              <a:rPr lang="en-US" altLang="es-ES" sz="700" i="1" dirty="0">
                <a:solidFill>
                  <a:schemeClr val="accent1"/>
                </a:solidFill>
              </a:rPr>
              <a:t>: </a:t>
            </a:r>
            <a:r>
              <a:rPr lang="es-ES" altLang="es-ES" sz="700" i="1" dirty="0">
                <a:solidFill>
                  <a:schemeClr val="accent1"/>
                </a:solidFill>
              </a:rPr>
              <a:t>https://doi.org/10.3390/jcm12093187 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3ACD494F-ED69-A964-7BDB-71889B9482EE}"/>
              </a:ext>
            </a:extLst>
          </p:cNvPr>
          <p:cNvSpPr txBox="1"/>
          <p:nvPr/>
        </p:nvSpPr>
        <p:spPr>
          <a:xfrm>
            <a:off x="6266329" y="2576139"/>
            <a:ext cx="5206534" cy="5540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ES" sz="1500" b="1" dirty="0">
                <a:solidFill>
                  <a:schemeClr val="accent5"/>
                </a:solidFill>
                <a:ea typeface="Calibri" panose="020F0502020204030204" pitchFamily="34" charset="0"/>
              </a:rPr>
              <a:t>Los médicos estiman que el 14% de los pacientes tratados con estatinas tiene efectos adversos</a:t>
            </a:r>
            <a:r>
              <a:rPr lang="es-ES" sz="1500" b="1" baseline="30000" dirty="0">
                <a:solidFill>
                  <a:schemeClr val="accent5"/>
                </a:solidFill>
                <a:ea typeface="Calibri" panose="020F0502020204030204" pitchFamily="34" charset="0"/>
              </a:rPr>
              <a:t>2</a:t>
            </a:r>
            <a:r>
              <a:rPr lang="es-ES" sz="1500" b="1" dirty="0">
                <a:solidFill>
                  <a:schemeClr val="accent5"/>
                </a:solidFill>
                <a:ea typeface="Calibri" panose="020F0502020204030204" pitchFamily="34" charset="0"/>
              </a:rPr>
              <a:t>.</a:t>
            </a:r>
            <a:endParaRPr lang="es-ES" sz="1500" b="1" dirty="0">
              <a:solidFill>
                <a:schemeClr val="accent5"/>
              </a:solidFill>
            </a:endParaRPr>
          </a:p>
        </p:txBody>
      </p:sp>
      <p:pic>
        <p:nvPicPr>
          <p:cNvPr id="17414" name="Imagen 28">
            <a:extLst>
              <a:ext uri="{FF2B5EF4-FFF2-40B4-BE49-F238E27FC236}">
                <a16:creationId xmlns:a16="http://schemas.microsoft.com/office/drawing/2014/main" id="{6D723EB0-8431-D33C-24BE-15BBFC026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7" t="6865"/>
          <a:stretch>
            <a:fillRect/>
          </a:stretch>
        </p:blipFill>
        <p:spPr bwMode="auto">
          <a:xfrm>
            <a:off x="795338" y="2437748"/>
            <a:ext cx="4302125" cy="232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5" name="CuadroTexto 17">
            <a:extLst>
              <a:ext uri="{FF2B5EF4-FFF2-40B4-BE49-F238E27FC236}">
                <a16:creationId xmlns:a16="http://schemas.microsoft.com/office/drawing/2014/main" id="{36364CC8-5F38-1C27-3D0B-88A96F9C59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0938" y="4731685"/>
            <a:ext cx="373380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200" b="1">
                <a:solidFill>
                  <a:srgbClr val="4472C4"/>
                </a:solidFill>
              </a:rPr>
              <a:t>El 53% de los pacientes interrumpieron el tto en aprox. 15 meses después del evento CV. </a:t>
            </a:r>
            <a:endParaRPr lang="es-ES" altLang="es-ES" sz="1200" b="1">
              <a:solidFill>
                <a:srgbClr val="4472C4"/>
              </a:solidFill>
            </a:endParaRPr>
          </a:p>
        </p:txBody>
      </p:sp>
      <p:sp>
        <p:nvSpPr>
          <p:cNvPr id="17416" name="CuadroTexto 30">
            <a:extLst>
              <a:ext uri="{FF2B5EF4-FFF2-40B4-BE49-F238E27FC236}">
                <a16:creationId xmlns:a16="http://schemas.microsoft.com/office/drawing/2014/main" id="{DDA7314D-902E-9153-3493-2837D0D565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7088" y="3336925"/>
            <a:ext cx="5738065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altLang="es-ES" sz="1500" b="1">
                <a:solidFill>
                  <a:srgbClr val="5B9BD5"/>
                </a:solidFill>
                <a:cs typeface="Calibri" panose="020F0502020204030204" pitchFamily="34" charset="0"/>
              </a:rPr>
              <a:t>El 80 % de los cambios relacionados con la seguridad en el tratamiento fueron de </a:t>
            </a:r>
            <a:r>
              <a:rPr lang="it-IT" altLang="es-ES" sz="1500" b="1">
                <a:solidFill>
                  <a:srgbClr val="5B9BD5"/>
                </a:solidFill>
                <a:cs typeface="Calibri" panose="020F0502020204030204" pitchFamily="34" charset="0"/>
              </a:rPr>
              <a:t>atorvastatina (+/- ezetimiba) a rosuvastatina (+/- ezetimiba)</a:t>
            </a:r>
            <a:r>
              <a:rPr lang="it-IT" altLang="es-ES" sz="1500" b="1" baseline="30000">
                <a:solidFill>
                  <a:srgbClr val="5B9BD5"/>
                </a:solidFill>
                <a:cs typeface="Calibri" panose="020F0502020204030204" pitchFamily="34" charset="0"/>
              </a:rPr>
              <a:t>3</a:t>
            </a:r>
            <a:r>
              <a:rPr lang="it-IT" altLang="es-ES" sz="1500" b="1">
                <a:solidFill>
                  <a:srgbClr val="5B9BD5"/>
                </a:solidFill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7417" name="CuadroTexto 17">
            <a:extLst>
              <a:ext uri="{FF2B5EF4-FFF2-40B4-BE49-F238E27FC236}">
                <a16:creationId xmlns:a16="http://schemas.microsoft.com/office/drawing/2014/main" id="{9C7B9CB0-776F-AB8E-4769-A167C7C937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87476" y="6080407"/>
            <a:ext cx="1008538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400" b="1" dirty="0">
                <a:solidFill>
                  <a:srgbClr val="EE853E"/>
                </a:solidFill>
              </a:rPr>
              <a:t>Prescribir la estatina con el mejor perfil de seguridad</a:t>
            </a:r>
            <a:endParaRPr lang="es-ES" altLang="es-ES" sz="2400" b="1" dirty="0">
              <a:solidFill>
                <a:srgbClr val="EE853E"/>
              </a:solidFill>
            </a:endParaRPr>
          </a:p>
        </p:txBody>
      </p:sp>
      <p:sp>
        <p:nvSpPr>
          <p:cNvPr id="17418" name="CuadroTexto 32">
            <a:extLst>
              <a:ext uri="{FF2B5EF4-FFF2-40B4-BE49-F238E27FC236}">
                <a16:creationId xmlns:a16="http://schemas.microsoft.com/office/drawing/2014/main" id="{B72976CC-5F9A-88F9-BF1F-6894A98AA4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7088" y="4193153"/>
            <a:ext cx="5655199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altLang="es-ES" sz="1500" b="1" dirty="0">
                <a:solidFill>
                  <a:srgbClr val="5B9BD5"/>
                </a:solidFill>
                <a:cs typeface="Calibri" panose="020F0502020204030204" pitchFamily="34" charset="0"/>
              </a:rPr>
              <a:t>El 10 % de los cambios de tratamientos hipolipemiantes era debido a efectos adversos, principalmente musculares</a:t>
            </a:r>
            <a:r>
              <a:rPr lang="es-ES" altLang="es-ES" sz="1500" b="1" baseline="30000" dirty="0">
                <a:solidFill>
                  <a:srgbClr val="5B9BD5"/>
                </a:solidFill>
                <a:cs typeface="Calibri" panose="020F0502020204030204" pitchFamily="34" charset="0"/>
              </a:rPr>
              <a:t>3</a:t>
            </a:r>
            <a:r>
              <a:rPr lang="es-ES" altLang="es-ES" sz="1500" b="1" dirty="0">
                <a:solidFill>
                  <a:srgbClr val="5B9BD5"/>
                </a:solidFill>
                <a:cs typeface="Calibri" panose="020F0502020204030204" pitchFamily="34" charset="0"/>
              </a:rPr>
              <a:t>.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8128BD73-CA24-2ECC-47B4-D2EF0F3F70C0}"/>
              </a:ext>
            </a:extLst>
          </p:cNvPr>
          <p:cNvSpPr txBox="1"/>
          <p:nvPr/>
        </p:nvSpPr>
        <p:spPr>
          <a:xfrm>
            <a:off x="5651453" y="1578581"/>
            <a:ext cx="6253256" cy="70643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lnSpc>
                <a:spcPct val="100000"/>
              </a:lnSpc>
              <a:buFontTx/>
              <a:buNone/>
              <a:defRPr sz="2000" b="1">
                <a:solidFill>
                  <a:srgbClr val="0070C0"/>
                </a:solidFill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</a:lvl9pPr>
          </a:lstStyle>
          <a:p>
            <a:pPr>
              <a:defRPr/>
            </a:pPr>
            <a:r>
              <a:rPr lang="es-ES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Efectos Adversos: rosuvastatina vs atorvastatina </a:t>
            </a:r>
          </a:p>
          <a:p>
            <a:pPr>
              <a:defRPr/>
            </a:pPr>
            <a:r>
              <a:rPr lang="es-ES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Estudio TERESA-AP y TERESA-cardio</a:t>
            </a:r>
            <a:endParaRPr lang="es-ES" dirty="0"/>
          </a:p>
        </p:txBody>
      </p:sp>
      <p:sp>
        <p:nvSpPr>
          <p:cNvPr id="17420" name="CuadroTexto 34">
            <a:extLst>
              <a:ext uri="{FF2B5EF4-FFF2-40B4-BE49-F238E27FC236}">
                <a16:creationId xmlns:a16="http://schemas.microsoft.com/office/drawing/2014/main" id="{B4B80E34-ACAF-F04C-D836-80769FEA01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7088" y="4840853"/>
            <a:ext cx="561767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altLang="es-ES" sz="1500" b="1">
                <a:solidFill>
                  <a:srgbClr val="5B9BD5"/>
                </a:solidFill>
                <a:cs typeface="Calibri" panose="020F0502020204030204" pitchFamily="34" charset="0"/>
              </a:rPr>
              <a:t>La estatina que se consideró más segura en cuanto a efectos secundarios fue la rosuvastatina</a:t>
            </a:r>
            <a:r>
              <a:rPr lang="es-ES" altLang="es-ES" sz="1500" b="1" baseline="30000">
                <a:solidFill>
                  <a:srgbClr val="5B9BD5"/>
                </a:solidFill>
                <a:cs typeface="Calibri" panose="020F0502020204030204" pitchFamily="34" charset="0"/>
              </a:rPr>
              <a:t>2</a:t>
            </a:r>
            <a:r>
              <a:rPr lang="es-ES" altLang="es-ES" sz="1500" b="1">
                <a:solidFill>
                  <a:srgbClr val="5B9BD5"/>
                </a:solidFill>
                <a:cs typeface="Calibri" panose="020F0502020204030204" pitchFamily="34" charset="0"/>
              </a:rPr>
              <a:t>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5754FC8-EDD9-D992-60EF-084F1E4EC2FC}"/>
              </a:ext>
            </a:extLst>
          </p:cNvPr>
          <p:cNvSpPr txBox="1"/>
          <p:nvPr/>
        </p:nvSpPr>
        <p:spPr>
          <a:xfrm>
            <a:off x="5907088" y="2211155"/>
            <a:ext cx="612466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s-ES"/>
            </a:defPPr>
            <a:lvl1pPr algn="ctr">
              <a:lnSpc>
                <a:spcPct val="100000"/>
              </a:lnSpc>
              <a:spcBef>
                <a:spcPct val="0"/>
              </a:spcBef>
              <a:buFontTx/>
              <a:buNone/>
              <a:defRPr sz="1600" b="1">
                <a:solidFill>
                  <a:srgbClr val="0070C0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sz="1100" dirty="0">
                <a:solidFill>
                  <a:schemeClr val="tx1">
                    <a:lumMod val="50000"/>
                  </a:schemeClr>
                </a:solidFill>
              </a:rPr>
              <a:t>Estudio patrocinado por Almirall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0730F-CCF5-8D82-263E-485418E3B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8EB5F8-E8C9-8907-F1B1-446AA5657B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71F9AEE-CDE0-AB8F-9E45-73DACD3298E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25000" lnSpcReduction="20000"/>
          </a:bodyPr>
          <a:lstStyle/>
          <a:p>
            <a:endParaRPr lang="es-ES"/>
          </a:p>
        </p:txBody>
      </p:sp>
      <p:pic>
        <p:nvPicPr>
          <p:cNvPr id="6" name="Imagen 5" descr="Sense nom 2.pdf">
            <a:extLst>
              <a:ext uri="{FF2B5EF4-FFF2-40B4-BE49-F238E27FC236}">
                <a16:creationId xmlns:a16="http://schemas.microsoft.com/office/drawing/2014/main" id="{E4A1D691-9F2A-16E4-269E-0BA1380842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29" r="14043"/>
          <a:stretch/>
        </p:blipFill>
        <p:spPr>
          <a:xfrm rot="5400000">
            <a:off x="2473484" y="33383"/>
            <a:ext cx="2374356" cy="5035447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BA6F8297-7AF1-99A7-8987-0EDD439EF398}"/>
              </a:ext>
            </a:extLst>
          </p:cNvPr>
          <p:cNvSpPr txBox="1"/>
          <p:nvPr/>
        </p:nvSpPr>
        <p:spPr>
          <a:xfrm>
            <a:off x="1142940" y="4571835"/>
            <a:ext cx="4415177" cy="584775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1: </a:t>
            </a:r>
            <a:r>
              <a:rPr lang="es-ES" sz="1600" dirty="0"/>
              <a:t>escoger entre 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SCORE2</a:t>
            </a:r>
            <a:r>
              <a:rPr lang="es-ES" sz="1600" dirty="0"/>
              <a:t>, SCORE2-OP y SCORE2-diabetes (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</a:rPr>
              <a:t>paciente joven &lt;70 años</a:t>
            </a:r>
            <a:r>
              <a:rPr lang="es-ES" sz="1600" dirty="0"/>
              <a:t>)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6F8D649-A61C-2E47-4AD5-CDAD9DF2EA87}"/>
              </a:ext>
            </a:extLst>
          </p:cNvPr>
          <p:cNvSpPr txBox="1"/>
          <p:nvPr/>
        </p:nvSpPr>
        <p:spPr>
          <a:xfrm>
            <a:off x="1142939" y="5260594"/>
            <a:ext cx="4415177" cy="83099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2: </a:t>
            </a:r>
            <a:r>
              <a:rPr lang="es-ES" sz="1600" dirty="0"/>
              <a:t>escoger la tabla que corresponde a la región adecuada (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zona de Europa de baja riesgo</a:t>
            </a:r>
            <a:r>
              <a:rPr lang="es-ES" sz="1600" dirty="0"/>
              <a:t>)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2351A73-E5CC-0E44-4070-D30BA2B06E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2932" y="1299079"/>
            <a:ext cx="5260151" cy="5184776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CD22ED0A-8AE7-5CB3-E97A-36B95AA25BDF}"/>
              </a:ext>
            </a:extLst>
          </p:cNvPr>
          <p:cNvSpPr/>
          <p:nvPr/>
        </p:nvSpPr>
        <p:spPr>
          <a:xfrm>
            <a:off x="6759388" y="1299078"/>
            <a:ext cx="1272988" cy="47513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0C41EBD-81F3-85AD-F33C-A83D1081AC39}"/>
              </a:ext>
            </a:extLst>
          </p:cNvPr>
          <p:cNvSpPr/>
          <p:nvPr/>
        </p:nvSpPr>
        <p:spPr>
          <a:xfrm>
            <a:off x="716605" y="558516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tros: Interpretación de las tablas del SCORE2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1199471-48D8-9778-95FC-DAAFB6DB43B5}"/>
              </a:ext>
            </a:extLst>
          </p:cNvPr>
          <p:cNvSpPr txBox="1"/>
          <p:nvPr/>
        </p:nvSpPr>
        <p:spPr>
          <a:xfrm>
            <a:off x="1169832" y="3806723"/>
            <a:ext cx="3411134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_tradnl" sz="1600" b="1" dirty="0">
                <a:solidFill>
                  <a:schemeClr val="accent6">
                    <a:lumMod val="75000"/>
                  </a:schemeClr>
                </a:solidFill>
              </a:rPr>
              <a:t>U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tilizaremos el perfil de paciente de “Elena” como ejemplo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716DF50-9950-510F-67C5-41713EB8F76A}"/>
              </a:ext>
            </a:extLst>
          </p:cNvPr>
          <p:cNvSpPr txBox="1"/>
          <p:nvPr/>
        </p:nvSpPr>
        <p:spPr>
          <a:xfrm>
            <a:off x="7230211" y="6464129"/>
            <a:ext cx="4415177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700" i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dirty="0"/>
              <a:t>Hageman S, et al. </a:t>
            </a:r>
            <a:r>
              <a:rPr lang="en-US" dirty="0"/>
              <a:t>SCORE2 risk prediction algorithms: new models to estimate 10-year risk of cardiovascular disease in Europe. </a:t>
            </a:r>
            <a:r>
              <a:rPr lang="en-US" dirty="0" err="1"/>
              <a:t>Eur</a:t>
            </a:r>
            <a:r>
              <a:rPr lang="en-US" dirty="0"/>
              <a:t> Heart J. 2021 Jul 1;42(25):2439-2454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b309.</a:t>
            </a:r>
          </a:p>
        </p:txBody>
      </p:sp>
    </p:spTree>
    <p:extLst>
      <p:ext uri="{BB962C8B-B14F-4D97-AF65-F5344CB8AC3E}">
        <p14:creationId xmlns:p14="http://schemas.microsoft.com/office/powerpoint/2010/main" val="426739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BBE288C-E3E8-4F43-744F-19E507939D7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0B77B71-9A8A-F34C-95C5-DC42A8204AC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25000" lnSpcReduction="20000"/>
          </a:bodyPr>
          <a:lstStyle/>
          <a:p>
            <a:endParaRPr lang="es-ES"/>
          </a:p>
        </p:txBody>
      </p:sp>
      <p:pic>
        <p:nvPicPr>
          <p:cNvPr id="7" name="Imagen 6" descr="Sense nom.pdf">
            <a:extLst>
              <a:ext uri="{FF2B5EF4-FFF2-40B4-BE49-F238E27FC236}">
                <a16:creationId xmlns:a16="http://schemas.microsoft.com/office/drawing/2014/main" id="{057B8151-2F84-EA51-B165-01A20E2E1B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39894" y="233951"/>
            <a:ext cx="4846211" cy="685800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B6802A2E-B034-3C09-BAE0-972E3C1B3F6D}"/>
              </a:ext>
            </a:extLst>
          </p:cNvPr>
          <p:cNvSpPr txBox="1"/>
          <p:nvPr/>
        </p:nvSpPr>
        <p:spPr>
          <a:xfrm>
            <a:off x="1089258" y="1412741"/>
            <a:ext cx="4415177" cy="584775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3: </a:t>
            </a:r>
            <a:r>
              <a:rPr lang="es-ES" sz="1600" dirty="0"/>
              <a:t>escoger la tabla que corresponde al sexo del paciente (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mujer</a:t>
            </a:r>
            <a:r>
              <a:rPr lang="es-ES" sz="1600" dirty="0"/>
              <a:t>).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7F3D69F8-B410-D69D-EBDA-19614587D7D7}"/>
              </a:ext>
            </a:extLst>
          </p:cNvPr>
          <p:cNvGrpSpPr/>
          <p:nvPr/>
        </p:nvGrpSpPr>
        <p:grpSpPr>
          <a:xfrm>
            <a:off x="1005195" y="2631771"/>
            <a:ext cx="5216304" cy="3654635"/>
            <a:chOff x="1030302" y="1331979"/>
            <a:chExt cx="5216304" cy="3654635"/>
          </a:xfrm>
        </p:grpSpPr>
        <p:sp>
          <p:nvSpPr>
            <p:cNvPr id="11" name="Marcador de contenido 2">
              <a:extLst>
                <a:ext uri="{FF2B5EF4-FFF2-40B4-BE49-F238E27FC236}">
                  <a16:creationId xmlns:a16="http://schemas.microsoft.com/office/drawing/2014/main" id="{330F7F1F-018B-FABC-CEE8-674BC5AFFD8D}"/>
                </a:ext>
              </a:extLst>
            </p:cNvPr>
            <p:cNvSpPr txBox="1">
              <a:spLocks/>
            </p:cNvSpPr>
            <p:nvPr/>
          </p:nvSpPr>
          <p:spPr>
            <a:xfrm>
              <a:off x="1030302" y="1332202"/>
              <a:ext cx="4735224" cy="36544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67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68578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971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160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349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189" marR="0" lvl="1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EA3B07AD-03DB-BB94-AABF-4C3FA407C7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82548" y="2635077"/>
              <a:ext cx="4075246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671DB40A-AFEC-B58B-6033-FF059627A3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46969" y="1331979"/>
              <a:ext cx="3418557" cy="721894"/>
            </a:xfrm>
            <a:prstGeom prst="rect">
              <a:avLst/>
            </a:prstGeom>
          </p:spPr>
        </p:pic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3CCB14F5-C12B-0867-4046-DF7689C6D1BB}"/>
                </a:ext>
              </a:extLst>
            </p:cNvPr>
            <p:cNvSpPr txBox="1"/>
            <p:nvPr/>
          </p:nvSpPr>
          <p:spPr>
            <a:xfrm>
              <a:off x="2385949" y="2029078"/>
              <a:ext cx="386065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b="1" dirty="0">
                  <a:solidFill>
                    <a:schemeClr val="accent5">
                      <a:lumMod val="75000"/>
                    </a:schemeClr>
                  </a:solidFill>
                </a:rPr>
                <a:t>NOMBRE: Elena / EDAD: 49 AÑOS</a:t>
              </a:r>
              <a:endParaRPr lang="es-ES" sz="16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DFBAA5E6-49C3-6060-34CB-B6E291CC1843}"/>
                </a:ext>
              </a:extLst>
            </p:cNvPr>
            <p:cNvSpPr txBox="1"/>
            <p:nvPr/>
          </p:nvSpPr>
          <p:spPr>
            <a:xfrm>
              <a:off x="1284800" y="2832247"/>
              <a:ext cx="4480726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TA de 150mmHg sin tratamient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madora (20 cigarrillos/día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s-ES" sz="1600" dirty="0">
                <a:solidFill>
                  <a:srgbClr val="002060"/>
                </a:solidFill>
                <a:latin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73B48CF1-E690-3A1B-093B-A47851044BD8}"/>
                </a:ext>
              </a:extLst>
            </p:cNvPr>
            <p:cNvSpPr txBox="1"/>
            <p:nvPr/>
          </p:nvSpPr>
          <p:spPr>
            <a:xfrm>
              <a:off x="1293108" y="3721137"/>
              <a:ext cx="404089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MAP detecta:</a:t>
              </a: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-LDL 150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 </a:t>
              </a: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olesterol total 250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-HDL 47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19" name="Google Shape;254;p18">
              <a:extLst>
                <a:ext uri="{FF2B5EF4-FFF2-40B4-BE49-F238E27FC236}">
                  <a16:creationId xmlns:a16="http://schemas.microsoft.com/office/drawing/2014/main" id="{EEFA76B4-4C0C-1D02-E146-3EBEDC97EC93}"/>
                </a:ext>
              </a:extLst>
            </p:cNvPr>
            <p:cNvSpPr/>
            <p:nvPr/>
          </p:nvSpPr>
          <p:spPr>
            <a:xfrm>
              <a:off x="4860078" y="2913420"/>
              <a:ext cx="572192" cy="49617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endParaRPr sz="2400"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D90AC2E0-EED7-3C6B-47C3-B23236F6C0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36005" y="2957268"/>
              <a:ext cx="383147" cy="383147"/>
            </a:xfrm>
            <a:prstGeom prst="rect">
              <a:avLst/>
            </a:prstGeom>
          </p:spPr>
        </p:pic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C11D655F-5EE0-E5E1-D402-2C684720D97B}"/>
                </a:ext>
              </a:extLst>
            </p:cNvPr>
            <p:cNvGrpSpPr/>
            <p:nvPr/>
          </p:nvGrpSpPr>
          <p:grpSpPr>
            <a:xfrm>
              <a:off x="4453651" y="3440927"/>
              <a:ext cx="607690" cy="596405"/>
              <a:chOff x="4774183" y="3923673"/>
              <a:chExt cx="607690" cy="596405"/>
            </a:xfrm>
          </p:grpSpPr>
          <p:sp>
            <p:nvSpPr>
              <p:cNvPr id="22" name="Google Shape;288;p18">
                <a:extLst>
                  <a:ext uri="{FF2B5EF4-FFF2-40B4-BE49-F238E27FC236}">
                    <a16:creationId xmlns:a16="http://schemas.microsoft.com/office/drawing/2014/main" id="{D8302271-7273-4368-E3C8-1FDC9A5F4CD3}"/>
                  </a:ext>
                </a:extLst>
              </p:cNvPr>
              <p:cNvSpPr/>
              <p:nvPr/>
            </p:nvSpPr>
            <p:spPr>
              <a:xfrm>
                <a:off x="4774183" y="3923673"/>
                <a:ext cx="607690" cy="596405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endParaRPr sz="2400">
                  <a:latin typeface="Montserrat Medium"/>
                  <a:ea typeface="Montserrat Medium"/>
                  <a:cs typeface="Montserrat Medium"/>
                  <a:sym typeface="Montserrat Medium"/>
                </a:endParaRPr>
              </a:p>
            </p:txBody>
          </p:sp>
          <p:pic>
            <p:nvPicPr>
              <p:cNvPr id="24" name="Imagen 23">
                <a:extLst>
                  <a:ext uri="{FF2B5EF4-FFF2-40B4-BE49-F238E27FC236}">
                    <a16:creationId xmlns:a16="http://schemas.microsoft.com/office/drawing/2014/main" id="{EB81658E-FDD5-FCE9-68FB-0E389B6835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60078" y="3977686"/>
                <a:ext cx="411235" cy="411235"/>
              </a:xfrm>
              <a:prstGeom prst="rect">
                <a:avLst/>
              </a:prstGeom>
            </p:spPr>
          </p:pic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9302012B-0E05-33A9-6EAF-49DEBD2C127D}"/>
                </a:ext>
              </a:extLst>
            </p:cNvPr>
            <p:cNvGrpSpPr/>
            <p:nvPr/>
          </p:nvGrpSpPr>
          <p:grpSpPr>
            <a:xfrm>
              <a:off x="4598627" y="4283143"/>
              <a:ext cx="607690" cy="616318"/>
              <a:chOff x="7334891" y="4364063"/>
              <a:chExt cx="1154000" cy="1154000"/>
            </a:xfrm>
          </p:grpSpPr>
          <p:sp>
            <p:nvSpPr>
              <p:cNvPr id="21" name="Google Shape;256;p18">
                <a:extLst>
                  <a:ext uri="{FF2B5EF4-FFF2-40B4-BE49-F238E27FC236}">
                    <a16:creationId xmlns:a16="http://schemas.microsoft.com/office/drawing/2014/main" id="{35AE7219-F2AD-4078-76E5-CAF6AEC9E5CC}"/>
                  </a:ext>
                </a:extLst>
              </p:cNvPr>
              <p:cNvSpPr/>
              <p:nvPr/>
            </p:nvSpPr>
            <p:spPr>
              <a:xfrm>
                <a:off x="7334891" y="4364063"/>
                <a:ext cx="1154000" cy="11540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endParaRPr sz="2400" dirty="0">
                  <a:latin typeface="Montserrat Medium"/>
                  <a:ea typeface="Montserrat Medium"/>
                  <a:cs typeface="Montserrat Medium"/>
                  <a:sym typeface="Montserrat Medium"/>
                </a:endParaRPr>
              </a:p>
            </p:txBody>
          </p:sp>
          <p:pic>
            <p:nvPicPr>
              <p:cNvPr id="25" name="Imagen 24">
                <a:extLst>
                  <a:ext uri="{FF2B5EF4-FFF2-40B4-BE49-F238E27FC236}">
                    <a16:creationId xmlns:a16="http://schemas.microsoft.com/office/drawing/2014/main" id="{1284AF64-2251-6446-3F67-CAA5C2DA23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565533" y="4510858"/>
                <a:ext cx="826626" cy="826626"/>
              </a:xfrm>
              <a:prstGeom prst="rect">
                <a:avLst/>
              </a:prstGeom>
            </p:spPr>
          </p:pic>
        </p:grpSp>
      </p:grpSp>
      <p:pic>
        <p:nvPicPr>
          <p:cNvPr id="32" name="Imagen 31">
            <a:extLst>
              <a:ext uri="{FF2B5EF4-FFF2-40B4-BE49-F238E27FC236}">
                <a16:creationId xmlns:a16="http://schemas.microsoft.com/office/drawing/2014/main" id="{48E087DA-EFA0-0128-0959-3ECA6541CA5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315" t="14641" r="11539" b="10749"/>
          <a:stretch/>
        </p:blipFill>
        <p:spPr>
          <a:xfrm>
            <a:off x="1000308" y="2579202"/>
            <a:ext cx="1360009" cy="1355555"/>
          </a:xfrm>
          <a:prstGeom prst="flowChartConnector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DE75C593-9A28-9824-2BFB-6CBE12F8E95B}"/>
              </a:ext>
            </a:extLst>
          </p:cNvPr>
          <p:cNvSpPr/>
          <p:nvPr/>
        </p:nvSpPr>
        <p:spPr>
          <a:xfrm>
            <a:off x="716605" y="558516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tros: Saber leer las tablas del SCORE2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2C8102C-BAA2-BA00-99D3-9A5A417C620B}"/>
              </a:ext>
            </a:extLst>
          </p:cNvPr>
          <p:cNvSpPr txBox="1"/>
          <p:nvPr/>
        </p:nvSpPr>
        <p:spPr>
          <a:xfrm>
            <a:off x="6838349" y="6043584"/>
            <a:ext cx="4415177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700" i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dirty="0"/>
              <a:t>Hageman S, et al. </a:t>
            </a:r>
            <a:r>
              <a:rPr lang="en-US" dirty="0"/>
              <a:t>SCORE2 risk prediction algorithms: new models to estimate 10-year risk of cardiovascular disease in Europe. </a:t>
            </a:r>
            <a:r>
              <a:rPr lang="en-US" dirty="0" err="1"/>
              <a:t>Eur</a:t>
            </a:r>
            <a:r>
              <a:rPr lang="en-US" dirty="0"/>
              <a:t> Heart J. 2021 Jul 1;42(25):2439-2454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b309.</a:t>
            </a:r>
          </a:p>
        </p:txBody>
      </p:sp>
    </p:spTree>
    <p:extLst>
      <p:ext uri="{BB962C8B-B14F-4D97-AF65-F5344CB8AC3E}">
        <p14:creationId xmlns:p14="http://schemas.microsoft.com/office/powerpoint/2010/main" val="13019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EB2C5C-D81C-5096-44B9-BEBF40B1F4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C93A65B-96B5-F6AC-BBF0-7259BEBC194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E5462D6-83F8-7E6B-A9F7-B8E7442125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25000" lnSpcReduction="20000"/>
          </a:bodyPr>
          <a:lstStyle/>
          <a:p>
            <a:endParaRPr lang="es-ES"/>
          </a:p>
        </p:txBody>
      </p:sp>
      <p:pic>
        <p:nvPicPr>
          <p:cNvPr id="7" name="Imagen 6" descr="Sense nom.pdf">
            <a:extLst>
              <a:ext uri="{FF2B5EF4-FFF2-40B4-BE49-F238E27FC236}">
                <a16:creationId xmlns:a16="http://schemas.microsoft.com/office/drawing/2014/main" id="{4782AE45-85C8-C570-43EF-67F045AEE7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07" b="14488"/>
          <a:stretch/>
        </p:blipFill>
        <p:spPr>
          <a:xfrm rot="5400000">
            <a:off x="5802030" y="2334167"/>
            <a:ext cx="5431479" cy="326701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6E05BC56-31D9-F24A-A64F-DCCF227DD5D5}"/>
              </a:ext>
            </a:extLst>
          </p:cNvPr>
          <p:cNvSpPr txBox="1"/>
          <p:nvPr/>
        </p:nvSpPr>
        <p:spPr>
          <a:xfrm>
            <a:off x="1089258" y="1412741"/>
            <a:ext cx="4415177" cy="83099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4: </a:t>
            </a:r>
            <a:r>
              <a:rPr lang="es-ES" sz="1600" dirty="0"/>
              <a:t>escoger la columna que corresponde al estado de tabaquismo del paciente (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fumadora</a:t>
            </a:r>
            <a:r>
              <a:rPr lang="es-ES" sz="1600" dirty="0"/>
              <a:t>)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A3EF083E-8AAE-3384-3E64-5C713CBEAF36}"/>
              </a:ext>
            </a:extLst>
          </p:cNvPr>
          <p:cNvGrpSpPr/>
          <p:nvPr/>
        </p:nvGrpSpPr>
        <p:grpSpPr>
          <a:xfrm>
            <a:off x="1005195" y="2631771"/>
            <a:ext cx="5216304" cy="3654635"/>
            <a:chOff x="1030302" y="1331979"/>
            <a:chExt cx="5216304" cy="3654635"/>
          </a:xfrm>
        </p:grpSpPr>
        <p:sp>
          <p:nvSpPr>
            <p:cNvPr id="11" name="Marcador de contenido 2">
              <a:extLst>
                <a:ext uri="{FF2B5EF4-FFF2-40B4-BE49-F238E27FC236}">
                  <a16:creationId xmlns:a16="http://schemas.microsoft.com/office/drawing/2014/main" id="{9B3EBF28-4057-D8F0-4AB9-D2EABC5A3ADF}"/>
                </a:ext>
              </a:extLst>
            </p:cNvPr>
            <p:cNvSpPr txBox="1">
              <a:spLocks/>
            </p:cNvSpPr>
            <p:nvPr/>
          </p:nvSpPr>
          <p:spPr>
            <a:xfrm>
              <a:off x="1030302" y="1332202"/>
              <a:ext cx="4735224" cy="36544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67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68578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971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160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349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189" marR="0" lvl="1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12AD3CA5-D736-7385-6447-CFA0CCB37B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82548" y="2635077"/>
              <a:ext cx="4075246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E9B2CB7F-CBA3-8C24-1456-2A35258E3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46969" y="1331979"/>
              <a:ext cx="3418557" cy="721894"/>
            </a:xfrm>
            <a:prstGeom prst="rect">
              <a:avLst/>
            </a:prstGeom>
          </p:spPr>
        </p:pic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97EE4C50-2F25-AB15-6C28-92BAAF663239}"/>
                </a:ext>
              </a:extLst>
            </p:cNvPr>
            <p:cNvSpPr txBox="1"/>
            <p:nvPr/>
          </p:nvSpPr>
          <p:spPr>
            <a:xfrm>
              <a:off x="2385949" y="2029078"/>
              <a:ext cx="386065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b="1" dirty="0">
                  <a:solidFill>
                    <a:schemeClr val="accent5">
                      <a:lumMod val="75000"/>
                    </a:schemeClr>
                  </a:solidFill>
                </a:rPr>
                <a:t>NOMBRE: Elena / EDAD: 49 AÑOS</a:t>
              </a:r>
              <a:endParaRPr lang="es-ES" sz="16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BB8514D8-EB93-77CE-D930-886938FD611C}"/>
                </a:ext>
              </a:extLst>
            </p:cNvPr>
            <p:cNvSpPr txBox="1"/>
            <p:nvPr/>
          </p:nvSpPr>
          <p:spPr>
            <a:xfrm>
              <a:off x="1284800" y="2832247"/>
              <a:ext cx="4480726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TA de 150mmHg sin tratamient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madora (20 cigarrillos/día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s-ES" sz="1600" dirty="0">
                <a:solidFill>
                  <a:srgbClr val="002060"/>
                </a:solidFill>
                <a:latin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F09405BD-B584-585C-7B71-F2E16CE71E20}"/>
                </a:ext>
              </a:extLst>
            </p:cNvPr>
            <p:cNvSpPr txBox="1"/>
            <p:nvPr/>
          </p:nvSpPr>
          <p:spPr>
            <a:xfrm>
              <a:off x="1293108" y="3721137"/>
              <a:ext cx="404089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MAP detecta:</a:t>
              </a: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-LDL 150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 </a:t>
              </a: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olesterol total 250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-HDL 47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19" name="Google Shape;254;p18">
              <a:extLst>
                <a:ext uri="{FF2B5EF4-FFF2-40B4-BE49-F238E27FC236}">
                  <a16:creationId xmlns:a16="http://schemas.microsoft.com/office/drawing/2014/main" id="{DFD908D5-1C43-8A0D-3BE8-8776481C2B12}"/>
                </a:ext>
              </a:extLst>
            </p:cNvPr>
            <p:cNvSpPr/>
            <p:nvPr/>
          </p:nvSpPr>
          <p:spPr>
            <a:xfrm>
              <a:off x="4860078" y="2913420"/>
              <a:ext cx="572192" cy="49617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endParaRPr sz="2400"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EC1B61F3-2A75-2AD6-6BCD-89F9A3A6BD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36005" y="2957268"/>
              <a:ext cx="383147" cy="383147"/>
            </a:xfrm>
            <a:prstGeom prst="rect">
              <a:avLst/>
            </a:prstGeom>
          </p:spPr>
        </p:pic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227DDF4E-02C7-AD50-6ECC-72FAF593E9A7}"/>
                </a:ext>
              </a:extLst>
            </p:cNvPr>
            <p:cNvGrpSpPr/>
            <p:nvPr/>
          </p:nvGrpSpPr>
          <p:grpSpPr>
            <a:xfrm>
              <a:off x="4453651" y="3440927"/>
              <a:ext cx="607690" cy="596405"/>
              <a:chOff x="4774183" y="3923673"/>
              <a:chExt cx="607690" cy="596405"/>
            </a:xfrm>
          </p:grpSpPr>
          <p:sp>
            <p:nvSpPr>
              <p:cNvPr id="22" name="Google Shape;288;p18">
                <a:extLst>
                  <a:ext uri="{FF2B5EF4-FFF2-40B4-BE49-F238E27FC236}">
                    <a16:creationId xmlns:a16="http://schemas.microsoft.com/office/drawing/2014/main" id="{196EA8D7-19DB-862D-E936-47A688F9E36B}"/>
                  </a:ext>
                </a:extLst>
              </p:cNvPr>
              <p:cNvSpPr/>
              <p:nvPr/>
            </p:nvSpPr>
            <p:spPr>
              <a:xfrm>
                <a:off x="4774183" y="3923673"/>
                <a:ext cx="607690" cy="596405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endParaRPr sz="2400">
                  <a:latin typeface="Montserrat Medium"/>
                  <a:ea typeface="Montserrat Medium"/>
                  <a:cs typeface="Montserrat Medium"/>
                  <a:sym typeface="Montserrat Medium"/>
                </a:endParaRPr>
              </a:p>
            </p:txBody>
          </p:sp>
          <p:pic>
            <p:nvPicPr>
              <p:cNvPr id="24" name="Imagen 23">
                <a:extLst>
                  <a:ext uri="{FF2B5EF4-FFF2-40B4-BE49-F238E27FC236}">
                    <a16:creationId xmlns:a16="http://schemas.microsoft.com/office/drawing/2014/main" id="{68A84501-38F3-0EB9-5FE0-C6A79DD45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60078" y="3977686"/>
                <a:ext cx="411235" cy="411235"/>
              </a:xfrm>
              <a:prstGeom prst="rect">
                <a:avLst/>
              </a:prstGeom>
            </p:spPr>
          </p:pic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27943665-7218-20A3-9B0E-0FD09F08F972}"/>
                </a:ext>
              </a:extLst>
            </p:cNvPr>
            <p:cNvGrpSpPr/>
            <p:nvPr/>
          </p:nvGrpSpPr>
          <p:grpSpPr>
            <a:xfrm>
              <a:off x="4598627" y="4283143"/>
              <a:ext cx="607690" cy="616318"/>
              <a:chOff x="7334891" y="4364063"/>
              <a:chExt cx="1154000" cy="1154000"/>
            </a:xfrm>
          </p:grpSpPr>
          <p:sp>
            <p:nvSpPr>
              <p:cNvPr id="21" name="Google Shape;256;p18">
                <a:extLst>
                  <a:ext uri="{FF2B5EF4-FFF2-40B4-BE49-F238E27FC236}">
                    <a16:creationId xmlns:a16="http://schemas.microsoft.com/office/drawing/2014/main" id="{C9A7D31A-B5FB-AD4F-1BEC-17CCBE251715}"/>
                  </a:ext>
                </a:extLst>
              </p:cNvPr>
              <p:cNvSpPr/>
              <p:nvPr/>
            </p:nvSpPr>
            <p:spPr>
              <a:xfrm>
                <a:off x="7334891" y="4364063"/>
                <a:ext cx="1154000" cy="11540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endParaRPr sz="2400" dirty="0">
                  <a:latin typeface="Montserrat Medium"/>
                  <a:ea typeface="Montserrat Medium"/>
                  <a:cs typeface="Montserrat Medium"/>
                  <a:sym typeface="Montserrat Medium"/>
                </a:endParaRPr>
              </a:p>
            </p:txBody>
          </p:sp>
          <p:pic>
            <p:nvPicPr>
              <p:cNvPr id="25" name="Imagen 24">
                <a:extLst>
                  <a:ext uri="{FF2B5EF4-FFF2-40B4-BE49-F238E27FC236}">
                    <a16:creationId xmlns:a16="http://schemas.microsoft.com/office/drawing/2014/main" id="{5E4AA660-6830-80B4-DF34-7414737030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565533" y="4510858"/>
                <a:ext cx="826626" cy="826626"/>
              </a:xfrm>
              <a:prstGeom prst="rect">
                <a:avLst/>
              </a:prstGeom>
            </p:spPr>
          </p:pic>
        </p:grpSp>
      </p:grpSp>
      <p:pic>
        <p:nvPicPr>
          <p:cNvPr id="32" name="Imagen 31">
            <a:extLst>
              <a:ext uri="{FF2B5EF4-FFF2-40B4-BE49-F238E27FC236}">
                <a16:creationId xmlns:a16="http://schemas.microsoft.com/office/drawing/2014/main" id="{6A894051-480A-65F6-A5EE-79ABD9E9366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315" t="14641" r="11539" b="10749"/>
          <a:stretch/>
        </p:blipFill>
        <p:spPr>
          <a:xfrm>
            <a:off x="1000308" y="2579202"/>
            <a:ext cx="1360009" cy="1355555"/>
          </a:xfrm>
          <a:prstGeom prst="flowChartConnector">
            <a:avLst/>
          </a:prstGeom>
        </p:spPr>
      </p:pic>
      <p:pic>
        <p:nvPicPr>
          <p:cNvPr id="2" name="Imagen 1" descr="Sense nom.pdf">
            <a:extLst>
              <a:ext uri="{FF2B5EF4-FFF2-40B4-BE49-F238E27FC236}">
                <a16:creationId xmlns:a16="http://schemas.microsoft.com/office/drawing/2014/main" id="{6D1C0467-FAA3-B6D4-E315-01A82B2DAF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" t="21177" r="84366" b="56340"/>
          <a:stretch/>
        </p:blipFill>
        <p:spPr>
          <a:xfrm rot="5400000">
            <a:off x="10462399" y="978720"/>
            <a:ext cx="673888" cy="1541930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00FB05E8-17E5-0F74-581E-F4115CF4B02A}"/>
              </a:ext>
            </a:extLst>
          </p:cNvPr>
          <p:cNvSpPr/>
          <p:nvPr/>
        </p:nvSpPr>
        <p:spPr>
          <a:xfrm>
            <a:off x="716605" y="558516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tros: Saber leer las tablas del SCORE2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D2D77F-B7AD-DB50-C0A0-0A5F02CCCE61}"/>
              </a:ext>
            </a:extLst>
          </p:cNvPr>
          <p:cNvSpPr txBox="1"/>
          <p:nvPr/>
        </p:nvSpPr>
        <p:spPr>
          <a:xfrm>
            <a:off x="6802135" y="6488365"/>
            <a:ext cx="4415177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700" i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dirty="0"/>
              <a:t>Hageman S, et al. </a:t>
            </a:r>
            <a:r>
              <a:rPr lang="en-US" dirty="0"/>
              <a:t>SCORE2 risk prediction algorithms: new models to estimate 10-year risk of cardiovascular disease in Europe. </a:t>
            </a:r>
            <a:r>
              <a:rPr lang="en-US" dirty="0" err="1"/>
              <a:t>Eur</a:t>
            </a:r>
            <a:r>
              <a:rPr lang="en-US" dirty="0"/>
              <a:t> Heart J. 2021 Jul 1;42(25):2439-2454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b309.</a:t>
            </a:r>
          </a:p>
        </p:txBody>
      </p:sp>
    </p:spTree>
    <p:extLst>
      <p:ext uri="{BB962C8B-B14F-4D97-AF65-F5344CB8AC3E}">
        <p14:creationId xmlns:p14="http://schemas.microsoft.com/office/powerpoint/2010/main" val="5804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5F74AD-A496-3B15-93BF-6DC042532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DCA1FF5-ED35-E430-4097-4935E375565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EF8795B-6861-2A6F-0508-0251819EC65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230344" y="355461"/>
            <a:ext cx="1611803" cy="520456"/>
          </a:xfrm>
        </p:spPr>
        <p:txBody>
          <a:bodyPr>
            <a:normAutofit fontScale="25000" lnSpcReduction="20000"/>
          </a:bodyPr>
          <a:lstStyle/>
          <a:p>
            <a:endParaRPr lang="es-ES" dirty="0"/>
          </a:p>
        </p:txBody>
      </p:sp>
      <p:pic>
        <p:nvPicPr>
          <p:cNvPr id="7" name="Imagen 6" descr="Sense nom.pdf">
            <a:extLst>
              <a:ext uri="{FF2B5EF4-FFF2-40B4-BE49-F238E27FC236}">
                <a16:creationId xmlns:a16="http://schemas.microsoft.com/office/drawing/2014/main" id="{25E2BBD5-F2F2-909E-7E01-32AE0BC42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7759923" y="423599"/>
            <a:ext cx="1090076" cy="265322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57030680-933D-D0DB-493B-F3841969DA53}"/>
              </a:ext>
            </a:extLst>
          </p:cNvPr>
          <p:cNvSpPr txBox="1"/>
          <p:nvPr/>
        </p:nvSpPr>
        <p:spPr>
          <a:xfrm>
            <a:off x="1089258" y="1161726"/>
            <a:ext cx="5345592" cy="338554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5: </a:t>
            </a:r>
            <a:r>
              <a:rPr lang="es-ES" sz="1600" dirty="0"/>
              <a:t>localizar su edad en la tabla (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45-49 años</a:t>
            </a:r>
            <a:r>
              <a:rPr lang="es-ES" sz="1600" dirty="0"/>
              <a:t>) 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1F960A7F-525E-835F-47FF-BB6A6649F633}"/>
              </a:ext>
            </a:extLst>
          </p:cNvPr>
          <p:cNvGrpSpPr/>
          <p:nvPr/>
        </p:nvGrpSpPr>
        <p:grpSpPr>
          <a:xfrm>
            <a:off x="1005195" y="2524191"/>
            <a:ext cx="5117689" cy="3654635"/>
            <a:chOff x="1030302" y="1331979"/>
            <a:chExt cx="5117689" cy="3654635"/>
          </a:xfrm>
        </p:grpSpPr>
        <p:sp>
          <p:nvSpPr>
            <p:cNvPr id="11" name="Marcador de contenido 2">
              <a:extLst>
                <a:ext uri="{FF2B5EF4-FFF2-40B4-BE49-F238E27FC236}">
                  <a16:creationId xmlns:a16="http://schemas.microsoft.com/office/drawing/2014/main" id="{176E7C74-B11B-9EFB-45FE-509053DB915A}"/>
                </a:ext>
              </a:extLst>
            </p:cNvPr>
            <p:cNvSpPr txBox="1">
              <a:spLocks/>
            </p:cNvSpPr>
            <p:nvPr/>
          </p:nvSpPr>
          <p:spPr>
            <a:xfrm>
              <a:off x="1030302" y="1332202"/>
              <a:ext cx="4735224" cy="36544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67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68578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971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160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349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189" marR="0" lvl="1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F7AB5220-07FB-FD71-E9FB-49A5C4986C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82548" y="2635077"/>
              <a:ext cx="4075246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E7F9CDCF-C30F-AB32-70E2-A1BE285F5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46969" y="1331979"/>
              <a:ext cx="3399236" cy="721894"/>
            </a:xfrm>
            <a:prstGeom prst="rect">
              <a:avLst/>
            </a:prstGeom>
          </p:spPr>
        </p:pic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E31B1DA4-F6C1-FEE4-7FA0-47CD32F95297}"/>
                </a:ext>
              </a:extLst>
            </p:cNvPr>
            <p:cNvSpPr txBox="1"/>
            <p:nvPr/>
          </p:nvSpPr>
          <p:spPr>
            <a:xfrm>
              <a:off x="2287334" y="2029078"/>
              <a:ext cx="386065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b="1" dirty="0">
                  <a:solidFill>
                    <a:schemeClr val="accent5">
                      <a:lumMod val="75000"/>
                    </a:schemeClr>
                  </a:solidFill>
                </a:rPr>
                <a:t>NOMBRE: Elena / EDAD: 49 AÑOS</a:t>
              </a:r>
              <a:endParaRPr lang="es-ES" sz="16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E0A67DC7-76E9-2545-A4A8-9C999BDA89E8}"/>
                </a:ext>
              </a:extLst>
            </p:cNvPr>
            <p:cNvSpPr txBox="1"/>
            <p:nvPr/>
          </p:nvSpPr>
          <p:spPr>
            <a:xfrm>
              <a:off x="1284800" y="2832247"/>
              <a:ext cx="4480726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TA de 150mmHg sin tratamient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madora (20 cigarrillos/día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s-ES" sz="1600" dirty="0">
                <a:solidFill>
                  <a:srgbClr val="002060"/>
                </a:solidFill>
                <a:latin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26AEF387-F3DE-1038-5ED4-4A617663352B}"/>
                </a:ext>
              </a:extLst>
            </p:cNvPr>
            <p:cNvSpPr txBox="1"/>
            <p:nvPr/>
          </p:nvSpPr>
          <p:spPr>
            <a:xfrm>
              <a:off x="1293108" y="3721137"/>
              <a:ext cx="404089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MAP detecta:</a:t>
              </a: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-LDL 150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 </a:t>
              </a: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olesterol total 250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  <a:p>
              <a:pPr marL="742950" lvl="1" indent="-285750">
                <a:buFont typeface="Arial" panose="020B0604020202020204" pitchFamily="34" charset="0"/>
                <a:buChar char="–"/>
              </a:pPr>
              <a:r>
                <a:rPr lang="es-ES_tradnl" sz="1600" dirty="0">
                  <a:solidFill>
                    <a:srgbClr val="002060"/>
                  </a:solidFill>
                  <a:latin typeface="Arial"/>
                </a:rPr>
                <a:t>c-HDL 47 mg/</a:t>
              </a:r>
              <a:r>
                <a:rPr lang="es-ES_tradnl" sz="1600" dirty="0" err="1">
                  <a:solidFill>
                    <a:srgbClr val="002060"/>
                  </a:solidFill>
                  <a:latin typeface="Arial"/>
                </a:rPr>
                <a:t>dL</a:t>
              </a:r>
              <a:endParaRPr lang="es-ES_tradnl" sz="16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19" name="Google Shape;254;p18">
              <a:extLst>
                <a:ext uri="{FF2B5EF4-FFF2-40B4-BE49-F238E27FC236}">
                  <a16:creationId xmlns:a16="http://schemas.microsoft.com/office/drawing/2014/main" id="{A2DB3508-F61B-22D2-EFB0-B8FE44AC67EC}"/>
                </a:ext>
              </a:extLst>
            </p:cNvPr>
            <p:cNvSpPr/>
            <p:nvPr/>
          </p:nvSpPr>
          <p:spPr>
            <a:xfrm>
              <a:off x="4860078" y="2913420"/>
              <a:ext cx="572192" cy="49617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endParaRPr sz="2400"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D845DC0C-23E9-4EEE-6F35-F5B402637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36005" y="2957268"/>
              <a:ext cx="383147" cy="383147"/>
            </a:xfrm>
            <a:prstGeom prst="rect">
              <a:avLst/>
            </a:prstGeom>
          </p:spPr>
        </p:pic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76C384ED-F416-B551-1B39-F115A7748394}"/>
                </a:ext>
              </a:extLst>
            </p:cNvPr>
            <p:cNvGrpSpPr/>
            <p:nvPr/>
          </p:nvGrpSpPr>
          <p:grpSpPr>
            <a:xfrm>
              <a:off x="4453651" y="3440927"/>
              <a:ext cx="607690" cy="596405"/>
              <a:chOff x="4774183" y="3923673"/>
              <a:chExt cx="607690" cy="596405"/>
            </a:xfrm>
          </p:grpSpPr>
          <p:sp>
            <p:nvSpPr>
              <p:cNvPr id="22" name="Google Shape;288;p18">
                <a:extLst>
                  <a:ext uri="{FF2B5EF4-FFF2-40B4-BE49-F238E27FC236}">
                    <a16:creationId xmlns:a16="http://schemas.microsoft.com/office/drawing/2014/main" id="{8DE11B18-AA40-F67C-CD27-663E83AF0621}"/>
                  </a:ext>
                </a:extLst>
              </p:cNvPr>
              <p:cNvSpPr/>
              <p:nvPr/>
            </p:nvSpPr>
            <p:spPr>
              <a:xfrm>
                <a:off x="4774183" y="3923673"/>
                <a:ext cx="607690" cy="596405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endParaRPr sz="2400">
                  <a:latin typeface="Montserrat Medium"/>
                  <a:ea typeface="Montserrat Medium"/>
                  <a:cs typeface="Montserrat Medium"/>
                  <a:sym typeface="Montserrat Medium"/>
                </a:endParaRPr>
              </a:p>
            </p:txBody>
          </p:sp>
          <p:pic>
            <p:nvPicPr>
              <p:cNvPr id="24" name="Imagen 23">
                <a:extLst>
                  <a:ext uri="{FF2B5EF4-FFF2-40B4-BE49-F238E27FC236}">
                    <a16:creationId xmlns:a16="http://schemas.microsoft.com/office/drawing/2014/main" id="{EF2E033A-C7BE-E666-8D61-8FE124084C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60078" y="3977686"/>
                <a:ext cx="411235" cy="411235"/>
              </a:xfrm>
              <a:prstGeom prst="rect">
                <a:avLst/>
              </a:prstGeom>
            </p:spPr>
          </p:pic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92A3968B-FC49-FDB1-6D7A-F02AE76F3293}"/>
                </a:ext>
              </a:extLst>
            </p:cNvPr>
            <p:cNvGrpSpPr/>
            <p:nvPr/>
          </p:nvGrpSpPr>
          <p:grpSpPr>
            <a:xfrm>
              <a:off x="4598627" y="4283143"/>
              <a:ext cx="607690" cy="616318"/>
              <a:chOff x="7334891" y="4364063"/>
              <a:chExt cx="1154000" cy="1154000"/>
            </a:xfrm>
          </p:grpSpPr>
          <p:sp>
            <p:nvSpPr>
              <p:cNvPr id="21" name="Google Shape;256;p18">
                <a:extLst>
                  <a:ext uri="{FF2B5EF4-FFF2-40B4-BE49-F238E27FC236}">
                    <a16:creationId xmlns:a16="http://schemas.microsoft.com/office/drawing/2014/main" id="{AA685AA6-B604-E19B-78DA-CE69E700B0B3}"/>
                  </a:ext>
                </a:extLst>
              </p:cNvPr>
              <p:cNvSpPr/>
              <p:nvPr/>
            </p:nvSpPr>
            <p:spPr>
              <a:xfrm>
                <a:off x="7334891" y="4364063"/>
                <a:ext cx="1154000" cy="11540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ctr"/>
                <a:endParaRPr sz="2400" dirty="0">
                  <a:latin typeface="Montserrat Medium"/>
                  <a:ea typeface="Montserrat Medium"/>
                  <a:cs typeface="Montserrat Medium"/>
                  <a:sym typeface="Montserrat Medium"/>
                </a:endParaRPr>
              </a:p>
            </p:txBody>
          </p:sp>
          <p:pic>
            <p:nvPicPr>
              <p:cNvPr id="25" name="Imagen 24">
                <a:extLst>
                  <a:ext uri="{FF2B5EF4-FFF2-40B4-BE49-F238E27FC236}">
                    <a16:creationId xmlns:a16="http://schemas.microsoft.com/office/drawing/2014/main" id="{A1C62C6F-5508-6E1A-4107-56DEF7A185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565533" y="4510858"/>
                <a:ext cx="826626" cy="826626"/>
              </a:xfrm>
              <a:prstGeom prst="rect">
                <a:avLst/>
              </a:prstGeom>
            </p:spPr>
          </p:pic>
        </p:grpSp>
      </p:grpSp>
      <p:pic>
        <p:nvPicPr>
          <p:cNvPr id="32" name="Imagen 31">
            <a:extLst>
              <a:ext uri="{FF2B5EF4-FFF2-40B4-BE49-F238E27FC236}">
                <a16:creationId xmlns:a16="http://schemas.microsoft.com/office/drawing/2014/main" id="{6E65C3F7-BD5A-49FA-3968-296E4D148AC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315" t="14641" r="11539" b="10749"/>
          <a:stretch/>
        </p:blipFill>
        <p:spPr>
          <a:xfrm>
            <a:off x="1000308" y="2471622"/>
            <a:ext cx="1360009" cy="1355555"/>
          </a:xfrm>
          <a:prstGeom prst="flowChartConnector">
            <a:avLst/>
          </a:prstGeom>
        </p:spPr>
      </p:pic>
      <p:pic>
        <p:nvPicPr>
          <p:cNvPr id="2" name="Imagen 1" descr="Sense nom.pdf">
            <a:extLst>
              <a:ext uri="{FF2B5EF4-FFF2-40B4-BE49-F238E27FC236}">
                <a16:creationId xmlns:a16="http://schemas.microsoft.com/office/drawing/2014/main" id="{6FFF5B03-1CB1-A297-4DFA-9F1688AAAB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186290" y="3761258"/>
            <a:ext cx="4360469" cy="1547606"/>
          </a:xfrm>
          <a:prstGeom prst="rect">
            <a:avLst/>
          </a:prstGeom>
        </p:spPr>
      </p:pic>
      <p:pic>
        <p:nvPicPr>
          <p:cNvPr id="6" name="Imagen 5" descr="Sense nom.pdf">
            <a:extLst>
              <a:ext uri="{FF2B5EF4-FFF2-40B4-BE49-F238E27FC236}">
                <a16:creationId xmlns:a16="http://schemas.microsoft.com/office/drawing/2014/main" id="{14124CDD-F38F-CFC1-8C64-AE411596B2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5215417" y="4235761"/>
            <a:ext cx="4242467" cy="71660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0DDDD080-FFAC-7346-9512-BA6CE93838E3}"/>
              </a:ext>
            </a:extLst>
          </p:cNvPr>
          <p:cNvSpPr txBox="1"/>
          <p:nvPr/>
        </p:nvSpPr>
        <p:spPr>
          <a:xfrm>
            <a:off x="1080857" y="1545188"/>
            <a:ext cx="5345592" cy="338554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6: </a:t>
            </a:r>
            <a:r>
              <a:rPr lang="es-ES" sz="1600" dirty="0"/>
              <a:t>localizar su PA (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140-159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mmHg</a:t>
            </a:r>
            <a:r>
              <a:rPr lang="es-ES" sz="1600" dirty="0"/>
              <a:t>) </a:t>
            </a:r>
          </a:p>
        </p:txBody>
      </p:sp>
      <p:sp>
        <p:nvSpPr>
          <p:cNvPr id="13" name="Cerrar llave 12">
            <a:extLst>
              <a:ext uri="{FF2B5EF4-FFF2-40B4-BE49-F238E27FC236}">
                <a16:creationId xmlns:a16="http://schemas.microsoft.com/office/drawing/2014/main" id="{D33D908E-76CA-82FA-7FCD-42EFA6626750}"/>
              </a:ext>
            </a:extLst>
          </p:cNvPr>
          <p:cNvSpPr/>
          <p:nvPr/>
        </p:nvSpPr>
        <p:spPr>
          <a:xfrm>
            <a:off x="9140328" y="4862955"/>
            <a:ext cx="225652" cy="578678"/>
          </a:xfrm>
          <a:prstGeom prst="rightBrac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5" descr="Sense nom.pdf">
            <a:extLst>
              <a:ext uri="{FF2B5EF4-FFF2-40B4-BE49-F238E27FC236}">
                <a16:creationId xmlns:a16="http://schemas.microsoft.com/office/drawing/2014/main" id="{1DD910B6-E304-CF97-D670-D7635B765C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" t="21177" r="84366" b="56340"/>
          <a:stretch/>
        </p:blipFill>
        <p:spPr>
          <a:xfrm rot="5400000">
            <a:off x="9874951" y="954656"/>
            <a:ext cx="673888" cy="1541930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3AEBE2D8-D96E-0174-6793-2F322B6E5420}"/>
              </a:ext>
            </a:extLst>
          </p:cNvPr>
          <p:cNvSpPr txBox="1"/>
          <p:nvPr/>
        </p:nvSpPr>
        <p:spPr>
          <a:xfrm>
            <a:off x="9310021" y="4890684"/>
            <a:ext cx="1144773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b="1" dirty="0"/>
              <a:t>Edad: 49 años</a:t>
            </a:r>
          </a:p>
        </p:txBody>
      </p:sp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143E3CE5-8B26-A100-AA45-5BDF0A08E6C6}"/>
              </a:ext>
            </a:extLst>
          </p:cNvPr>
          <p:cNvCxnSpPr/>
          <p:nvPr/>
        </p:nvCxnSpPr>
        <p:spPr>
          <a:xfrm>
            <a:off x="6731973" y="5089538"/>
            <a:ext cx="468000" cy="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Texto 29">
            <a:extLst>
              <a:ext uri="{FF2B5EF4-FFF2-40B4-BE49-F238E27FC236}">
                <a16:creationId xmlns:a16="http://schemas.microsoft.com/office/drawing/2014/main" id="{4E8A105E-D81F-DCE1-F05B-A9B7CB05CE42}"/>
              </a:ext>
            </a:extLst>
          </p:cNvPr>
          <p:cNvSpPr txBox="1"/>
          <p:nvPr/>
        </p:nvSpPr>
        <p:spPr>
          <a:xfrm>
            <a:off x="5806993" y="4881945"/>
            <a:ext cx="1144773" cy="52322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b="1" dirty="0"/>
              <a:t>PA: 150mmHg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1CAFCF7F-C061-5BE7-D885-C83C64CA0CAD}"/>
              </a:ext>
            </a:extLst>
          </p:cNvPr>
          <p:cNvSpPr txBox="1"/>
          <p:nvPr/>
        </p:nvSpPr>
        <p:spPr>
          <a:xfrm>
            <a:off x="1069937" y="1928465"/>
            <a:ext cx="5345592" cy="338554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sz="1600" b="1" dirty="0"/>
              <a:t>Paso 7: </a:t>
            </a:r>
            <a:r>
              <a:rPr lang="es-ES" sz="1600" dirty="0"/>
              <a:t>calcular y</a:t>
            </a:r>
            <a:r>
              <a:rPr lang="es-ES" sz="1600" b="1" dirty="0"/>
              <a:t> </a:t>
            </a:r>
            <a:r>
              <a:rPr lang="es-ES" sz="1600" dirty="0"/>
              <a:t>localizar su no-HDL (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5-5,9mmol/L</a:t>
            </a:r>
            <a:r>
              <a:rPr lang="es-ES" sz="1600" dirty="0"/>
              <a:t>)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99E74298-2F24-799C-2EE9-1EA3EE85FF43}"/>
              </a:ext>
            </a:extLst>
          </p:cNvPr>
          <p:cNvSpPr txBox="1"/>
          <p:nvPr/>
        </p:nvSpPr>
        <p:spPr>
          <a:xfrm>
            <a:off x="9662335" y="2469639"/>
            <a:ext cx="2521997" cy="83099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1600" b="1" dirty="0">
                <a:solidFill>
                  <a:schemeClr val="accent6">
                    <a:lumMod val="75000"/>
                  </a:schemeClr>
                </a:solidFill>
                <a:highlight>
                  <a:srgbClr val="C0C0C0"/>
                </a:highlight>
              </a:rPr>
              <a:t>Colesterol no-HDL = Colesterol Total -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  <a:highlight>
                  <a:srgbClr val="C0C0C0"/>
                </a:highlight>
              </a:rPr>
              <a:t>cHDL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  <a:highlight>
                  <a:srgbClr val="C0C0C0"/>
                </a:highlight>
              </a:rPr>
              <a:t> </a:t>
            </a:r>
          </a:p>
          <a:p>
            <a:pPr algn="l"/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250 - 47 = 203mg/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dL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.</a:t>
            </a:r>
            <a:endParaRPr lang="es-E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35" name="Conector recto de flecha 34">
            <a:extLst>
              <a:ext uri="{FF2B5EF4-FFF2-40B4-BE49-F238E27FC236}">
                <a16:creationId xmlns:a16="http://schemas.microsoft.com/office/drawing/2014/main" id="{5C441F4C-584F-B78F-8D61-94D1708C036C}"/>
              </a:ext>
            </a:extLst>
          </p:cNvPr>
          <p:cNvCxnSpPr>
            <a:cxnSpLocks/>
          </p:cNvCxnSpPr>
          <p:nvPr/>
        </p:nvCxnSpPr>
        <p:spPr>
          <a:xfrm flipV="1">
            <a:off x="8239403" y="6294444"/>
            <a:ext cx="0" cy="420852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ángulo 4">
            <a:extLst>
              <a:ext uri="{FF2B5EF4-FFF2-40B4-BE49-F238E27FC236}">
                <a16:creationId xmlns:a16="http://schemas.microsoft.com/office/drawing/2014/main" id="{41BFBC4E-5969-DAA9-037B-98728923CAB2}"/>
              </a:ext>
            </a:extLst>
          </p:cNvPr>
          <p:cNvSpPr/>
          <p:nvPr/>
        </p:nvSpPr>
        <p:spPr>
          <a:xfrm>
            <a:off x="716605" y="341881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tros: Saber leer las tablas del SCORE2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61AC8DC-C1E8-5BE3-F974-039436450F7C}"/>
              </a:ext>
            </a:extLst>
          </p:cNvPr>
          <p:cNvSpPr txBox="1"/>
          <p:nvPr/>
        </p:nvSpPr>
        <p:spPr>
          <a:xfrm>
            <a:off x="9662334" y="3537528"/>
            <a:ext cx="2521997" cy="10772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1600" b="1" dirty="0">
                <a:solidFill>
                  <a:schemeClr val="accent6">
                    <a:lumMod val="75000"/>
                  </a:schemeClr>
                </a:solidFill>
                <a:highlight>
                  <a:srgbClr val="C0C0C0"/>
                </a:highlight>
              </a:rPr>
              <a:t>Dividir cifra en mg/dl entre 38 para obtener cifra en mmol/L</a:t>
            </a:r>
            <a:endParaRPr lang="es-ES" sz="1600" b="1" dirty="0">
              <a:solidFill>
                <a:schemeClr val="accent6">
                  <a:lumMod val="75000"/>
                </a:schemeClr>
              </a:solidFill>
            </a:endParaRPr>
          </a:p>
          <a:p>
            <a:pPr algn="l"/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203/38 = 5,3 mmol/L.</a:t>
            </a:r>
            <a:endParaRPr lang="es-E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EEF8C161-0B5A-AF13-D2E2-C3996A07F179}"/>
              </a:ext>
            </a:extLst>
          </p:cNvPr>
          <p:cNvSpPr txBox="1"/>
          <p:nvPr/>
        </p:nvSpPr>
        <p:spPr>
          <a:xfrm>
            <a:off x="9634558" y="6128755"/>
            <a:ext cx="2419972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700" i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dirty="0"/>
              <a:t>Hageman S, et al. </a:t>
            </a:r>
            <a:r>
              <a:rPr lang="en-US" dirty="0"/>
              <a:t>SCORE2 risk prediction algorithms: new models to estimate 10-year risk of cardiovascular disease in Europe. </a:t>
            </a:r>
            <a:r>
              <a:rPr lang="en-US" dirty="0" err="1"/>
              <a:t>Eur</a:t>
            </a:r>
            <a:r>
              <a:rPr lang="en-US" dirty="0"/>
              <a:t> Heart J. 2021 Jul 1;42(25):2439-2454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b309.</a:t>
            </a:r>
          </a:p>
        </p:txBody>
      </p:sp>
    </p:spTree>
    <p:extLst>
      <p:ext uri="{BB962C8B-B14F-4D97-AF65-F5344CB8AC3E}">
        <p14:creationId xmlns:p14="http://schemas.microsoft.com/office/powerpoint/2010/main" val="110242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E26BC82-7F4B-8B8B-1292-37778CBC1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100" y="0"/>
            <a:ext cx="10591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8190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77BA9-AD8D-5151-DE4F-306DE1219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D1ED50B-5A7E-7E7D-1DBE-5CFB5AFEB42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2C11477-F59D-8D57-3389-9E3AC8C1F4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409639" y="367553"/>
            <a:ext cx="1611803" cy="520456"/>
          </a:xfrm>
        </p:spPr>
        <p:txBody>
          <a:bodyPr>
            <a:normAutofit fontScale="25000" lnSpcReduction="20000"/>
          </a:bodyPr>
          <a:lstStyle/>
          <a:p>
            <a:endParaRPr lang="es-ES" dirty="0"/>
          </a:p>
        </p:txBody>
      </p:sp>
      <p:grpSp>
        <p:nvGrpSpPr>
          <p:cNvPr id="39" name="Grupo 38">
            <a:extLst>
              <a:ext uri="{FF2B5EF4-FFF2-40B4-BE49-F238E27FC236}">
                <a16:creationId xmlns:a16="http://schemas.microsoft.com/office/drawing/2014/main" id="{A59980A4-9D38-AF46-48CA-371269E08BE1}"/>
              </a:ext>
            </a:extLst>
          </p:cNvPr>
          <p:cNvGrpSpPr/>
          <p:nvPr/>
        </p:nvGrpSpPr>
        <p:grpSpPr>
          <a:xfrm>
            <a:off x="1304570" y="1194096"/>
            <a:ext cx="4267911" cy="5246964"/>
            <a:chOff x="1881670" y="1333130"/>
            <a:chExt cx="4267911" cy="5246964"/>
          </a:xfrm>
        </p:grpSpPr>
        <p:pic>
          <p:nvPicPr>
            <p:cNvPr id="16" name="Imagen 15" descr="Sense nom.pdf">
              <a:extLst>
                <a:ext uri="{FF2B5EF4-FFF2-40B4-BE49-F238E27FC236}">
                  <a16:creationId xmlns:a16="http://schemas.microsoft.com/office/drawing/2014/main" id="{AF7BF4B7-BD67-47F1-15DE-B4B317CF7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8" t="21177" r="84366" b="56340"/>
            <a:stretch/>
          </p:blipFill>
          <p:spPr>
            <a:xfrm rot="5400000">
              <a:off x="5041672" y="899109"/>
              <a:ext cx="673888" cy="1541930"/>
            </a:xfrm>
            <a:prstGeom prst="rect">
              <a:avLst/>
            </a:prstGeom>
          </p:spPr>
        </p:pic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C675EED7-7260-65C0-6EB4-8B54B2E7E6B6}"/>
                </a:ext>
              </a:extLst>
            </p:cNvPr>
            <p:cNvGrpSpPr/>
            <p:nvPr/>
          </p:nvGrpSpPr>
          <p:grpSpPr>
            <a:xfrm>
              <a:off x="1881670" y="1394384"/>
              <a:ext cx="2631845" cy="5185710"/>
              <a:chOff x="3049423" y="2281890"/>
              <a:chExt cx="2161973" cy="4360470"/>
            </a:xfrm>
          </p:grpSpPr>
          <p:pic>
            <p:nvPicPr>
              <p:cNvPr id="2" name="Imagen 1" descr="Sense nom.pdf">
                <a:extLst>
                  <a:ext uri="{FF2B5EF4-FFF2-40B4-BE49-F238E27FC236}">
                    <a16:creationId xmlns:a16="http://schemas.microsoft.com/office/drawing/2014/main" id="{C8410CB6-608B-27CF-0104-06728279ED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5400000">
                <a:off x="2257358" y="3688322"/>
                <a:ext cx="4360469" cy="1547606"/>
              </a:xfrm>
              <a:prstGeom prst="rect">
                <a:avLst/>
              </a:prstGeom>
            </p:spPr>
          </p:pic>
          <p:pic>
            <p:nvPicPr>
              <p:cNvPr id="6" name="Imagen 5" descr="Sense nom.pdf">
                <a:extLst>
                  <a:ext uri="{FF2B5EF4-FFF2-40B4-BE49-F238E27FC236}">
                    <a16:creationId xmlns:a16="http://schemas.microsoft.com/office/drawing/2014/main" id="{DD3536F8-4E9E-C825-2B7C-65D70D9867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5400000">
                <a:off x="1286491" y="4162825"/>
                <a:ext cx="4242467" cy="716604"/>
              </a:xfrm>
              <a:prstGeom prst="rect">
                <a:avLst/>
              </a:prstGeom>
            </p:spPr>
          </p:pic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D0F76F62-5AB5-88E7-5444-67E6F2757F8D}"/>
                  </a:ext>
                </a:extLst>
              </p:cNvPr>
              <p:cNvSpPr/>
              <p:nvPr/>
            </p:nvSpPr>
            <p:spPr>
              <a:xfrm>
                <a:off x="4179628" y="4948518"/>
                <a:ext cx="346650" cy="143435"/>
              </a:xfrm>
              <a:prstGeom prst="rect">
                <a:avLst/>
              </a:pr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sp>
        <p:nvSpPr>
          <p:cNvPr id="40" name="CuadroTexto 39">
            <a:extLst>
              <a:ext uri="{FF2B5EF4-FFF2-40B4-BE49-F238E27FC236}">
                <a16:creationId xmlns:a16="http://schemas.microsoft.com/office/drawing/2014/main" id="{78E06DAF-A068-01DD-203B-B45496A49734}"/>
              </a:ext>
            </a:extLst>
          </p:cNvPr>
          <p:cNvSpPr txBox="1"/>
          <p:nvPr/>
        </p:nvSpPr>
        <p:spPr>
          <a:xfrm>
            <a:off x="6311867" y="1252509"/>
            <a:ext cx="5611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b="1" dirty="0">
                <a:solidFill>
                  <a:schemeClr val="accent5">
                    <a:lumMod val="75000"/>
                  </a:schemeClr>
                </a:solidFill>
              </a:rPr>
              <a:t>Elena tiene un RCV de 5%, RCV alto </a:t>
            </a:r>
            <a:endParaRPr lang="es-E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1135D34E-66B3-3728-C3A7-2C4FF0F9988F}"/>
              </a:ext>
            </a:extLst>
          </p:cNvPr>
          <p:cNvGrpSpPr/>
          <p:nvPr/>
        </p:nvGrpSpPr>
        <p:grpSpPr>
          <a:xfrm>
            <a:off x="6303117" y="1678317"/>
            <a:ext cx="5764514" cy="3021086"/>
            <a:chOff x="1059710" y="1153377"/>
            <a:chExt cx="9338932" cy="5528410"/>
          </a:xfrm>
        </p:grpSpPr>
        <p:pic>
          <p:nvPicPr>
            <p:cNvPr id="42" name="Imagen 41">
              <a:extLst>
                <a:ext uri="{FF2B5EF4-FFF2-40B4-BE49-F238E27FC236}">
                  <a16:creationId xmlns:a16="http://schemas.microsoft.com/office/drawing/2014/main" id="{7FCEE52C-71C6-D344-4A5F-72EA24D17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5269"/>
            <a:stretch/>
          </p:blipFill>
          <p:spPr>
            <a:xfrm>
              <a:off x="1148315" y="1447556"/>
              <a:ext cx="9175897" cy="5234231"/>
            </a:xfrm>
            <a:prstGeom prst="rect">
              <a:avLst/>
            </a:prstGeom>
          </p:spPr>
        </p:pic>
        <p:pic>
          <p:nvPicPr>
            <p:cNvPr id="43" name="Imagen 42">
              <a:extLst>
                <a:ext uri="{FF2B5EF4-FFF2-40B4-BE49-F238E27FC236}">
                  <a16:creationId xmlns:a16="http://schemas.microsoft.com/office/drawing/2014/main" id="{C1C26D36-D60A-0420-BECE-F86D1938B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710" y="1447555"/>
              <a:ext cx="177210" cy="5234231"/>
            </a:xfrm>
            <a:prstGeom prst="rect">
              <a:avLst/>
            </a:prstGeom>
          </p:spPr>
        </p:pic>
        <p:pic>
          <p:nvPicPr>
            <p:cNvPr id="44" name="Imagen 43">
              <a:extLst>
                <a:ext uri="{FF2B5EF4-FFF2-40B4-BE49-F238E27FC236}">
                  <a16:creationId xmlns:a16="http://schemas.microsoft.com/office/drawing/2014/main" id="{BC05BD03-C9A0-915B-DB3D-6F3CCCFEA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02242" y="1153377"/>
              <a:ext cx="9296400" cy="294177"/>
            </a:xfrm>
            <a:prstGeom prst="rect">
              <a:avLst/>
            </a:prstGeom>
          </p:spPr>
        </p:pic>
      </p:grpSp>
      <p:sp>
        <p:nvSpPr>
          <p:cNvPr id="45" name="Elipse 44">
            <a:extLst>
              <a:ext uri="{FF2B5EF4-FFF2-40B4-BE49-F238E27FC236}">
                <a16:creationId xmlns:a16="http://schemas.microsoft.com/office/drawing/2014/main" id="{E1882C46-2351-0F9F-7578-608B08B8AD79}"/>
              </a:ext>
            </a:extLst>
          </p:cNvPr>
          <p:cNvSpPr/>
          <p:nvPr/>
        </p:nvSpPr>
        <p:spPr>
          <a:xfrm>
            <a:off x="9503046" y="2503451"/>
            <a:ext cx="2006138" cy="799528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4AE86E4-E1C3-3706-ABAD-1BBCB631489A}"/>
              </a:ext>
            </a:extLst>
          </p:cNvPr>
          <p:cNvSpPr txBox="1"/>
          <p:nvPr/>
        </p:nvSpPr>
        <p:spPr>
          <a:xfrm>
            <a:off x="7770462" y="4693716"/>
            <a:ext cx="63588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>
                <a:solidFill>
                  <a:schemeClr val="accent1"/>
                </a:solidFill>
              </a:rPr>
              <a:t>Guía ESC/EAS 2019 sobre el tratamiento de las dislipemia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9B8468C-A366-4C9B-48FE-D8445DC30CA3}"/>
              </a:ext>
            </a:extLst>
          </p:cNvPr>
          <p:cNvSpPr txBox="1"/>
          <p:nvPr/>
        </p:nvSpPr>
        <p:spPr>
          <a:xfrm>
            <a:off x="7791389" y="4918898"/>
            <a:ext cx="613119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https://doi.org/10.1016/j.recesp.2019.11.009 </a:t>
            </a:r>
          </a:p>
        </p:txBody>
      </p:sp>
      <p:sp>
        <p:nvSpPr>
          <p:cNvPr id="10" name="CuadroTexto 17">
            <a:extLst>
              <a:ext uri="{FF2B5EF4-FFF2-40B4-BE49-F238E27FC236}">
                <a16:creationId xmlns:a16="http://schemas.microsoft.com/office/drawing/2014/main" id="{C0AB4907-F7F7-C850-CACB-95573EDEFF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3806" y="3075057"/>
            <a:ext cx="939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0070C0"/>
                </a:solidFill>
              </a:rPr>
              <a:t>RCV Alto!!!</a:t>
            </a:r>
            <a:endParaRPr lang="es-ES" altLang="es-ES" sz="2000" b="1" dirty="0">
              <a:solidFill>
                <a:srgbClr val="0070C0"/>
              </a:solidFill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41B76502-4ADC-8692-EE52-ED618D9D04C3}"/>
              </a:ext>
            </a:extLst>
          </p:cNvPr>
          <p:cNvSpPr/>
          <p:nvPr/>
        </p:nvSpPr>
        <p:spPr>
          <a:xfrm>
            <a:off x="4181343" y="3846376"/>
            <a:ext cx="770965" cy="681740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70565EBF-D204-776D-CE9A-A6ADEBF8CC50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3102397" y="4305637"/>
            <a:ext cx="1078946" cy="206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7">
            <a:extLst>
              <a:ext uri="{FF2B5EF4-FFF2-40B4-BE49-F238E27FC236}">
                <a16:creationId xmlns:a16="http://schemas.microsoft.com/office/drawing/2014/main" id="{FE57C8D9-E7FF-2B09-5DB6-2676FEEC5E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6282" y="3970612"/>
            <a:ext cx="9396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FF0000"/>
                </a:solidFill>
              </a:rPr>
              <a:t>5%</a:t>
            </a:r>
            <a:endParaRPr lang="es-ES" altLang="es-ES" sz="2000" b="1" dirty="0">
              <a:solidFill>
                <a:srgbClr val="FF0000"/>
              </a:solidFill>
            </a:endParaRPr>
          </a:p>
        </p:txBody>
      </p:sp>
      <p:pic>
        <p:nvPicPr>
          <p:cNvPr id="15" name="Marcador de contenido 5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9B38A716-0D25-3973-110F-DF17027513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" b="36941"/>
          <a:stretch/>
        </p:blipFill>
        <p:spPr>
          <a:xfrm>
            <a:off x="5741172" y="4248939"/>
            <a:ext cx="1883956" cy="2452398"/>
          </a:xfrm>
          <a:prstGeom prst="rect">
            <a:avLst/>
          </a:prstGeom>
        </p:spPr>
      </p:pic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DB875B84-6D27-6DB4-F002-B03D3240CDE6}"/>
              </a:ext>
            </a:extLst>
          </p:cNvPr>
          <p:cNvCxnSpPr>
            <a:cxnSpLocks/>
            <a:endCxn id="22" idx="2"/>
          </p:cNvCxnSpPr>
          <p:nvPr/>
        </p:nvCxnSpPr>
        <p:spPr>
          <a:xfrm>
            <a:off x="4952308" y="4247327"/>
            <a:ext cx="1143692" cy="2193733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7">
            <a:extLst>
              <a:ext uri="{FF2B5EF4-FFF2-40B4-BE49-F238E27FC236}">
                <a16:creationId xmlns:a16="http://schemas.microsoft.com/office/drawing/2014/main" id="{ED88E99E-5644-218C-7653-483F210C7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1389" y="5338448"/>
            <a:ext cx="356425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1800" b="1" dirty="0">
                <a:solidFill>
                  <a:srgbClr val="EE853E"/>
                </a:solidFill>
              </a:rPr>
              <a:t>El RCV identificado a través de la tabla coincide perfectamente con las cifras obtenidas a partir de la calculadora SCORE2</a:t>
            </a:r>
            <a:endParaRPr lang="es-ES" altLang="es-ES" sz="1800" b="1" dirty="0">
              <a:solidFill>
                <a:srgbClr val="EE853E"/>
              </a:solidFill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F3735710-2862-A410-C42A-1265A4845DDB}"/>
              </a:ext>
            </a:extLst>
          </p:cNvPr>
          <p:cNvSpPr/>
          <p:nvPr/>
        </p:nvSpPr>
        <p:spPr>
          <a:xfrm>
            <a:off x="716605" y="352871"/>
            <a:ext cx="11337925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Otros: Saber leer las tablas del SCORE2</a:t>
            </a: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0F31DF09-21C5-CDFC-18C1-8370EB36F016}"/>
              </a:ext>
            </a:extLst>
          </p:cNvPr>
          <p:cNvSpPr/>
          <p:nvPr/>
        </p:nvSpPr>
        <p:spPr>
          <a:xfrm>
            <a:off x="6096000" y="6100190"/>
            <a:ext cx="1105483" cy="681740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B5AFF31-B11B-BA41-649B-73D6158F0B64}"/>
              </a:ext>
            </a:extLst>
          </p:cNvPr>
          <p:cNvSpPr txBox="1"/>
          <p:nvPr/>
        </p:nvSpPr>
        <p:spPr>
          <a:xfrm>
            <a:off x="1304569" y="6222095"/>
            <a:ext cx="2725982" cy="4154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700" i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dirty="0"/>
              <a:t>Hageman S, et al. </a:t>
            </a:r>
            <a:r>
              <a:rPr lang="en-US" dirty="0"/>
              <a:t>SCORE2 risk prediction algorithms: new models to estimate 10-year risk of cardiovascular disease in Europe. </a:t>
            </a:r>
            <a:r>
              <a:rPr lang="en-US" dirty="0" err="1"/>
              <a:t>Eur</a:t>
            </a:r>
            <a:r>
              <a:rPr lang="en-US" dirty="0"/>
              <a:t> Heart J. 2021 Jul 1;42(25):2439-2454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b309.</a:t>
            </a:r>
          </a:p>
        </p:txBody>
      </p:sp>
    </p:spTree>
    <p:extLst>
      <p:ext uri="{BB962C8B-B14F-4D97-AF65-F5344CB8AC3E}">
        <p14:creationId xmlns:p14="http://schemas.microsoft.com/office/powerpoint/2010/main" val="982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70BDDB5-A749-DEB2-0FC8-198EC308D31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BF7AAA0-5BE4-BB0C-D72C-AC48357CD2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25000" lnSpcReduction="20000"/>
          </a:bodyPr>
          <a:lstStyle/>
          <a:p>
            <a:endParaRPr lang="es-ES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BB369A87-C336-51A1-AB82-F8F5FA16FA59}"/>
              </a:ext>
            </a:extLst>
          </p:cNvPr>
          <p:cNvSpPr/>
          <p:nvPr/>
        </p:nvSpPr>
        <p:spPr>
          <a:xfrm>
            <a:off x="785091" y="352871"/>
            <a:ext cx="11269439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85000" lnSpcReduction="100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statinas de alta intensidad y porcentaje de reducción de cLDL</a:t>
            </a:r>
            <a:endParaRPr lang="es-ES" sz="3200" b="1" dirty="0">
              <a:solidFill>
                <a:srgbClr val="00F0B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A37F740-D256-3EF1-02B4-611454B690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321" y="1293700"/>
            <a:ext cx="10641254" cy="4326082"/>
          </a:xfrm>
          <a:prstGeom prst="rect">
            <a:avLst/>
          </a:prstGeom>
        </p:spPr>
      </p:pic>
      <p:sp>
        <p:nvSpPr>
          <p:cNvPr id="8" name="CuadroTexto 17">
            <a:extLst>
              <a:ext uri="{FF2B5EF4-FFF2-40B4-BE49-F238E27FC236}">
                <a16:creationId xmlns:a16="http://schemas.microsoft.com/office/drawing/2014/main" id="{50789C19-D3E2-0AC4-BA85-6585BF76A9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2162" y="5990410"/>
            <a:ext cx="10995296" cy="70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rgbClr val="EE853E"/>
                </a:solidFill>
              </a:rPr>
              <a:t>En base a todos estos estudios, se ha observado que la rosuvastatina se muestra como la estatina de alta intensidad más potente, alcanzando unas </a:t>
            </a:r>
            <a:r>
              <a:rPr lang="es-ES_tradnl" altLang="es-ES" sz="2000" b="1" dirty="0" err="1">
                <a:solidFill>
                  <a:srgbClr val="EE853E"/>
                </a:solidFill>
              </a:rPr>
              <a:t>equipotencia</a:t>
            </a:r>
            <a:r>
              <a:rPr lang="es-ES_tradnl" altLang="es-ES" sz="2000" b="1" dirty="0">
                <a:solidFill>
                  <a:srgbClr val="EE853E"/>
                </a:solidFill>
              </a:rPr>
              <a:t> de en torno a 1:4 frente a atorvastatina</a:t>
            </a:r>
            <a:endParaRPr lang="es-ES" altLang="es-ES" sz="2000" b="1" dirty="0">
              <a:solidFill>
                <a:srgbClr val="EE85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9483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46A1CAE-5391-BD28-FAD4-7D9C47758F0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925C1AF-D13B-D070-93FA-5BC2923B49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25000" lnSpcReduction="20000"/>
          </a:bodyPr>
          <a:lstStyle/>
          <a:p>
            <a:endParaRPr lang="es-ES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B05C0690-43A1-8256-34A2-48B78CEFC11F}"/>
              </a:ext>
            </a:extLst>
          </p:cNvPr>
          <p:cNvSpPr/>
          <p:nvPr/>
        </p:nvSpPr>
        <p:spPr>
          <a:xfrm>
            <a:off x="785091" y="352871"/>
            <a:ext cx="11269439" cy="569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85000" lnSpcReduction="100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s-ES" sz="3200" b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statinas de alta intensidad y porcentaje de reducción de cLDL</a:t>
            </a:r>
            <a:endParaRPr lang="es-ES" sz="3200" b="1" dirty="0">
              <a:solidFill>
                <a:srgbClr val="00F0B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uadroTexto 17">
            <a:extLst>
              <a:ext uri="{FF2B5EF4-FFF2-40B4-BE49-F238E27FC236}">
                <a16:creationId xmlns:a16="http://schemas.microsoft.com/office/drawing/2014/main" id="{8F94A72F-2A82-FBF7-6DB9-40ED9E3A7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5091" y="1136702"/>
            <a:ext cx="10995296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ES" sz="2000" b="1" dirty="0">
                <a:solidFill>
                  <a:schemeClr val="bg1">
                    <a:lumMod val="50000"/>
                  </a:schemeClr>
                </a:solidFill>
              </a:rPr>
              <a:t>Referencias: </a:t>
            </a:r>
            <a:endParaRPr lang="es-ES" altLang="es-ES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CA27CB6-68C8-FBDA-E462-00E4C784A9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102" y="1326815"/>
            <a:ext cx="6365981" cy="2588018"/>
          </a:xfrm>
          <a:prstGeom prst="rect">
            <a:avLst/>
          </a:prstGeom>
        </p:spPr>
      </p:pic>
      <p:sp>
        <p:nvSpPr>
          <p:cNvPr id="9" name="CuadroTexto 17">
            <a:extLst>
              <a:ext uri="{FF2B5EF4-FFF2-40B4-BE49-F238E27FC236}">
                <a16:creationId xmlns:a16="http://schemas.microsoft.com/office/drawing/2014/main" id="{26651106-01D0-28A3-0363-F32CBFE44E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438" y="1578238"/>
            <a:ext cx="454352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ct val="0"/>
              </a:spcBef>
            </a:pPr>
            <a:r>
              <a:rPr lang="pt-BR" altLang="es-ES" sz="800" dirty="0">
                <a:solidFill>
                  <a:schemeClr val="bg1">
                    <a:lumMod val="50000"/>
                  </a:schemeClr>
                </a:solidFill>
              </a:rPr>
              <a:t>Jones P, </a:t>
            </a:r>
            <a:r>
              <a:rPr lang="pt-BR" altLang="es-ES" sz="800" dirty="0" err="1">
                <a:solidFill>
                  <a:schemeClr val="bg1">
                    <a:lumMod val="50000"/>
                  </a:schemeClr>
                </a:solidFill>
              </a:rPr>
              <a:t>DavidsonM</a:t>
            </a:r>
            <a:r>
              <a:rPr lang="pt-BR" altLang="es-ES" sz="800" dirty="0">
                <a:solidFill>
                  <a:schemeClr val="bg1">
                    <a:lumMod val="50000"/>
                  </a:schemeClr>
                </a:solidFill>
              </a:rPr>
              <a:t>, et al. 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Comparison of the efficacy and safety of rosuvastatin versus atorvastatin, simvastatin, and pravastatin across doses (STELLAR* Trial). </a:t>
            </a:r>
            <a:r>
              <a:rPr lang="es-ES_tradnl" altLang="es-ES" sz="800" dirty="0">
                <a:solidFill>
                  <a:schemeClr val="bg1">
                    <a:lumMod val="50000"/>
                  </a:schemeClr>
                </a:solidFill>
              </a:rPr>
              <a:t>Am J </a:t>
            </a:r>
            <a:r>
              <a:rPr lang="es-ES_tradnl" altLang="es-ES" sz="800" dirty="0" err="1">
                <a:solidFill>
                  <a:schemeClr val="bg1">
                    <a:lumMod val="50000"/>
                  </a:schemeClr>
                </a:solidFill>
              </a:rPr>
              <a:t>Cardiol</a:t>
            </a:r>
            <a:r>
              <a:rPr lang="es-ES_tradnl" altLang="es-ES" sz="800" dirty="0">
                <a:solidFill>
                  <a:schemeClr val="bg1">
                    <a:lumMod val="50000"/>
                  </a:schemeClr>
                </a:solidFill>
              </a:rPr>
              <a:t>. 2003 Jul 15;92(2):152-60. </a:t>
            </a:r>
            <a:r>
              <a:rPr lang="es-ES_tradnl" altLang="es-ES" sz="800" dirty="0" err="1">
                <a:solidFill>
                  <a:schemeClr val="bg1">
                    <a:lumMod val="50000"/>
                  </a:schemeClr>
                </a:solidFill>
              </a:rPr>
              <a:t>doi</a:t>
            </a:r>
            <a:r>
              <a:rPr lang="es-ES_tradnl" altLang="es-ES" sz="800" dirty="0">
                <a:solidFill>
                  <a:schemeClr val="bg1">
                    <a:lumMod val="50000"/>
                  </a:schemeClr>
                </a:solidFill>
              </a:rPr>
              <a:t>: 10.1016/s0002-9149(03)00530-7. </a:t>
            </a:r>
            <a:endParaRPr lang="es-ES" alt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CuadroTexto 17">
            <a:extLst>
              <a:ext uri="{FF2B5EF4-FFF2-40B4-BE49-F238E27FC236}">
                <a16:creationId xmlns:a16="http://schemas.microsoft.com/office/drawing/2014/main" id="{242CCE41-E037-1DC1-29DE-D9DF68F075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438" y="2044404"/>
            <a:ext cx="4543525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ct val="0"/>
              </a:spcBef>
            </a:pP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Clearfield M, </a:t>
            </a:r>
            <a:r>
              <a:rPr lang="en-US" altLang="es-ES" sz="800" dirty="0" err="1">
                <a:solidFill>
                  <a:schemeClr val="bg1">
                    <a:lumMod val="50000"/>
                  </a:schemeClr>
                </a:solidFill>
              </a:rPr>
              <a:t>Amerena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 J, et al, Comparison of the efficacy and safety of rosuvastatin 10 mg and atorvastatin 20 mg in high-risk patients with hypercholesterolemia--Prospective study to evaluate the Use of Low doses of the Statins Atorvastatin and Rosuvastatin (PULSAR)</a:t>
            </a:r>
            <a:r>
              <a:rPr lang="fr-FR" altLang="es-ES" sz="800" dirty="0">
                <a:solidFill>
                  <a:schemeClr val="bg1">
                    <a:lumMod val="50000"/>
                  </a:schemeClr>
                </a:solidFill>
              </a:rPr>
              <a:t>Trials. 2006 </a:t>
            </a:r>
            <a:r>
              <a:rPr lang="fr-FR" altLang="es-ES" sz="800" dirty="0" err="1">
                <a:solidFill>
                  <a:schemeClr val="bg1">
                    <a:lumMod val="50000"/>
                  </a:schemeClr>
                </a:solidFill>
              </a:rPr>
              <a:t>Dec</a:t>
            </a:r>
            <a:r>
              <a:rPr lang="fr-FR" altLang="es-ES" sz="800" dirty="0">
                <a:solidFill>
                  <a:schemeClr val="bg1">
                    <a:lumMod val="50000"/>
                  </a:schemeClr>
                </a:solidFill>
              </a:rPr>
              <a:t> 21:7:35. </a:t>
            </a:r>
            <a:r>
              <a:rPr lang="fr-FR" altLang="es-ES" sz="800" dirty="0" err="1">
                <a:solidFill>
                  <a:schemeClr val="bg1">
                    <a:lumMod val="50000"/>
                  </a:schemeClr>
                </a:solidFill>
              </a:rPr>
              <a:t>doi</a:t>
            </a:r>
            <a:r>
              <a:rPr lang="fr-FR" altLang="es-ES" sz="800" dirty="0">
                <a:solidFill>
                  <a:schemeClr val="bg1">
                    <a:lumMod val="50000"/>
                  </a:schemeClr>
                </a:solidFill>
              </a:rPr>
              <a:t>: 10.1186/1745-6215-7-35. </a:t>
            </a:r>
            <a:endParaRPr lang="es-ES" alt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CuadroTexto 17">
            <a:extLst>
              <a:ext uri="{FF2B5EF4-FFF2-40B4-BE49-F238E27FC236}">
                <a16:creationId xmlns:a16="http://schemas.microsoft.com/office/drawing/2014/main" id="{1053579B-4858-3A94-1426-5B28AEF28D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438" y="2644618"/>
            <a:ext cx="453487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ct val="0"/>
              </a:spcBef>
            </a:pP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Pitt B, </a:t>
            </a:r>
            <a:r>
              <a:rPr lang="en-US" altLang="es-ES" sz="800" dirty="0" err="1">
                <a:solidFill>
                  <a:schemeClr val="bg1">
                    <a:lumMod val="50000"/>
                  </a:schemeClr>
                </a:solidFill>
              </a:rPr>
              <a:t>Loscalzo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 J, et al. Comparison of lipid-modifying efficacy of rosuvastatin versus atorvastatin in patients with acute coronary syndrome (from the LUNAR study). Am J </a:t>
            </a:r>
            <a:r>
              <a:rPr lang="en-US" altLang="es-ES" sz="800" dirty="0" err="1">
                <a:solidFill>
                  <a:schemeClr val="bg1">
                    <a:lumMod val="50000"/>
                  </a:schemeClr>
                </a:solidFill>
              </a:rPr>
              <a:t>Cardiol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. 2012 May 1;109(9):1239-46. </a:t>
            </a:r>
            <a:r>
              <a:rPr lang="en-US" altLang="es-ES" sz="800" dirty="0" err="1">
                <a:solidFill>
                  <a:schemeClr val="bg1">
                    <a:lumMod val="50000"/>
                  </a:schemeClr>
                </a:solidFill>
              </a:rPr>
              <a:t>doi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: 10.1016/j.amjcard.2011.12.015.</a:t>
            </a:r>
            <a:endParaRPr lang="es-ES" alt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CuadroTexto 17">
            <a:extLst>
              <a:ext uri="{FF2B5EF4-FFF2-40B4-BE49-F238E27FC236}">
                <a16:creationId xmlns:a16="http://schemas.microsoft.com/office/drawing/2014/main" id="{B4C3E09B-A1CF-4F09-6053-0F9B174FC4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438" y="3100012"/>
            <a:ext cx="453487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ct val="0"/>
              </a:spcBef>
            </a:pPr>
            <a:r>
              <a:rPr lang="fi-FI" altLang="es-ES" sz="800" dirty="0">
                <a:solidFill>
                  <a:schemeClr val="bg1">
                    <a:lumMod val="50000"/>
                  </a:schemeClr>
                </a:solidFill>
              </a:rPr>
              <a:t>Faergeman O, Hill L, et al. 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Efficacy and tolerability of rosuvastatin and atorvastatin when force-titrated in patients with primary hypercholesterolemia: results from the ECLIPSE study. Cardiology. 2008;111(4):219-28. </a:t>
            </a:r>
            <a:r>
              <a:rPr lang="en-US" altLang="es-ES" sz="800" dirty="0" err="1">
                <a:solidFill>
                  <a:schemeClr val="bg1">
                    <a:lumMod val="50000"/>
                  </a:schemeClr>
                </a:solidFill>
              </a:rPr>
              <a:t>doi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: 10.1159/000127442. </a:t>
            </a:r>
            <a:r>
              <a:rPr lang="en-US" altLang="es-ES" sz="800" dirty="0" err="1">
                <a:solidFill>
                  <a:schemeClr val="bg1">
                    <a:lumMod val="50000"/>
                  </a:schemeClr>
                </a:solidFill>
              </a:rPr>
              <a:t>Epub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 2008 Apr 23.</a:t>
            </a:r>
            <a:endParaRPr lang="es-ES" alt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CuadroTexto 17">
            <a:extLst>
              <a:ext uri="{FF2B5EF4-FFF2-40B4-BE49-F238E27FC236}">
                <a16:creationId xmlns:a16="http://schemas.microsoft.com/office/drawing/2014/main" id="{9E8251B7-B0C4-74C7-F0B7-AE37736DF7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438" y="3555406"/>
            <a:ext cx="4526020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ct val="0"/>
              </a:spcBef>
            </a:pPr>
            <a:r>
              <a:rPr lang="fi-FI" altLang="es-ES" sz="800" dirty="0">
                <a:solidFill>
                  <a:schemeClr val="bg1">
                    <a:lumMod val="50000"/>
                  </a:schemeClr>
                </a:solidFill>
              </a:rPr>
              <a:t>Stalenhoef A, Ballantyne C, et al. </a:t>
            </a:r>
            <a:r>
              <a:rPr lang="en-US" altLang="es-ES" sz="800" dirty="0">
                <a:solidFill>
                  <a:schemeClr val="bg1">
                    <a:lumMod val="50000"/>
                  </a:schemeClr>
                </a:solidFill>
              </a:rPr>
              <a:t>A comparative study with rosuvastatin in subjects with metabolic syndrome: results of the COMETS study. </a:t>
            </a:r>
            <a:r>
              <a:rPr lang="fi-FI" altLang="es-ES" sz="800" dirty="0">
                <a:solidFill>
                  <a:schemeClr val="bg1">
                    <a:lumMod val="50000"/>
                  </a:schemeClr>
                </a:solidFill>
              </a:rPr>
              <a:t>Eur Heart J. 2005 Dec;26(24):2664-72. doi: 10.1093/eurheartj/ehi482. Epub 2005 Sep 5.</a:t>
            </a:r>
            <a:endParaRPr lang="es-ES" alt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E3631DDB-A443-B07C-5C75-99DBABBA608D}"/>
              </a:ext>
            </a:extLst>
          </p:cNvPr>
          <p:cNvSpPr txBox="1"/>
          <p:nvPr/>
        </p:nvSpPr>
        <p:spPr>
          <a:xfrm>
            <a:off x="776438" y="4032510"/>
            <a:ext cx="4913854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it-IT" sz="800" dirty="0" err="1"/>
              <a:t>Lablanche</a:t>
            </a:r>
            <a:r>
              <a:rPr lang="it-IT" sz="800" dirty="0"/>
              <a:t> J, Leone A, et al. </a:t>
            </a:r>
            <a:r>
              <a:rPr lang="it-IT" sz="800" dirty="0" err="1"/>
              <a:t>Comparison</a:t>
            </a:r>
            <a:r>
              <a:rPr lang="it-IT" sz="800" dirty="0"/>
              <a:t> of the </a:t>
            </a:r>
            <a:r>
              <a:rPr lang="it-IT" sz="800" dirty="0" err="1"/>
              <a:t>efficacy</a:t>
            </a:r>
            <a:r>
              <a:rPr lang="it-IT" sz="800" dirty="0"/>
              <a:t> of </a:t>
            </a:r>
            <a:r>
              <a:rPr lang="it-IT" sz="800" dirty="0" err="1"/>
              <a:t>rosuvastatin</a:t>
            </a:r>
            <a:r>
              <a:rPr lang="it-IT" sz="800" dirty="0"/>
              <a:t> versus </a:t>
            </a:r>
            <a:r>
              <a:rPr lang="it-IT" sz="800" dirty="0" err="1"/>
              <a:t>atorvastatin</a:t>
            </a:r>
            <a:r>
              <a:rPr lang="it-IT" sz="800" dirty="0"/>
              <a:t> in </a:t>
            </a:r>
            <a:r>
              <a:rPr lang="it-IT" sz="800" dirty="0" err="1"/>
              <a:t>reducing</a:t>
            </a:r>
            <a:r>
              <a:rPr lang="it-IT" sz="800" dirty="0"/>
              <a:t> </a:t>
            </a:r>
            <a:r>
              <a:rPr lang="it-IT" sz="800" dirty="0" err="1"/>
              <a:t>apolipoprotein</a:t>
            </a:r>
            <a:r>
              <a:rPr lang="it-IT" sz="800" dirty="0"/>
              <a:t> B/</a:t>
            </a:r>
            <a:r>
              <a:rPr lang="it-IT" sz="800" dirty="0" err="1"/>
              <a:t>apolipoprotein</a:t>
            </a:r>
            <a:r>
              <a:rPr lang="it-IT" sz="800" dirty="0"/>
              <a:t> A-1 ratio in </a:t>
            </a:r>
            <a:r>
              <a:rPr lang="it-IT" sz="800" dirty="0" err="1"/>
              <a:t>patients</a:t>
            </a:r>
            <a:r>
              <a:rPr lang="it-IT" sz="800" dirty="0"/>
              <a:t> with acute </a:t>
            </a:r>
            <a:r>
              <a:rPr lang="it-IT" sz="800" dirty="0" err="1"/>
              <a:t>coronary</a:t>
            </a:r>
            <a:r>
              <a:rPr lang="it-IT" sz="800" dirty="0"/>
              <a:t> </a:t>
            </a:r>
            <a:r>
              <a:rPr lang="it-IT" sz="800" dirty="0" err="1"/>
              <a:t>syndrome</a:t>
            </a:r>
            <a:r>
              <a:rPr lang="it-IT" sz="800" dirty="0"/>
              <a:t>: </a:t>
            </a:r>
            <a:r>
              <a:rPr lang="it-IT" sz="800" dirty="0" err="1"/>
              <a:t>results</a:t>
            </a:r>
            <a:r>
              <a:rPr lang="it-IT" sz="800" dirty="0"/>
              <a:t> of the CENTAURUS study. </a:t>
            </a:r>
            <a:r>
              <a:rPr lang="es-ES" sz="800" dirty="0" err="1"/>
              <a:t>Arch</a:t>
            </a:r>
            <a:r>
              <a:rPr lang="es-ES" sz="800" dirty="0"/>
              <a:t> </a:t>
            </a:r>
            <a:r>
              <a:rPr lang="es-ES" sz="800" dirty="0" err="1"/>
              <a:t>Cardiovasc</a:t>
            </a:r>
            <a:r>
              <a:rPr lang="es-ES" sz="800" dirty="0"/>
              <a:t> </a:t>
            </a:r>
            <a:r>
              <a:rPr lang="es-ES" sz="800" dirty="0" err="1"/>
              <a:t>Dis</a:t>
            </a:r>
            <a:r>
              <a:rPr lang="es-ES" sz="800" dirty="0"/>
              <a:t>. 2010 Mar;103(3):160-9. </a:t>
            </a:r>
            <a:r>
              <a:rPr lang="es-ES" sz="800" dirty="0" err="1"/>
              <a:t>doi</a:t>
            </a:r>
            <a:r>
              <a:rPr lang="es-ES" sz="800" dirty="0"/>
              <a:t>: 10.1016/j.acvd.2010.01.005. </a:t>
            </a:r>
            <a:r>
              <a:rPr lang="es-ES" sz="800" dirty="0" err="1"/>
              <a:t>Epub</a:t>
            </a:r>
            <a:r>
              <a:rPr lang="es-ES" sz="800" dirty="0"/>
              <a:t> 2010 </a:t>
            </a:r>
            <a:r>
              <a:rPr lang="es-ES" sz="800" dirty="0" err="1"/>
              <a:t>Apr</a:t>
            </a:r>
            <a:r>
              <a:rPr lang="es-ES" sz="800" dirty="0"/>
              <a:t> 8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4344B6E-B6F0-2568-FC73-EFD39777CF84}"/>
              </a:ext>
            </a:extLst>
          </p:cNvPr>
          <p:cNvSpPr txBox="1"/>
          <p:nvPr/>
        </p:nvSpPr>
        <p:spPr>
          <a:xfrm>
            <a:off x="776438" y="4617285"/>
            <a:ext cx="493167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n-US" sz="800" dirty="0"/>
              <a:t>Leiter L, </a:t>
            </a:r>
            <a:r>
              <a:rPr lang="en-US" sz="800" dirty="0" err="1"/>
              <a:t>Rosenson</a:t>
            </a:r>
            <a:r>
              <a:rPr lang="en-US" sz="800" dirty="0"/>
              <a:t> R, et al. Efficacy and safety of rosuvastatin 40 mg versus atorvastatin 80 mg in high-risk patients with hypercholesterolemia: results of the POLARIS study. Atherosclerosis. 2007 Oct;194(2):e154-64. </a:t>
            </a:r>
            <a:r>
              <a:rPr lang="en-US" sz="800" dirty="0" err="1"/>
              <a:t>doi</a:t>
            </a:r>
            <a:r>
              <a:rPr lang="en-US" sz="800" dirty="0"/>
              <a:t>: 10.1016/j.atherosclerosis.2006.12.001. </a:t>
            </a:r>
            <a:r>
              <a:rPr lang="en-US" sz="800" dirty="0" err="1"/>
              <a:t>Epub</a:t>
            </a:r>
            <a:r>
              <a:rPr lang="en-US" sz="800" dirty="0"/>
              <a:t> 2007 Jan 16.</a:t>
            </a:r>
            <a:endParaRPr lang="es-ES" sz="800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68662EA-EEA6-531F-2B7F-00A13276C8B1}"/>
              </a:ext>
            </a:extLst>
          </p:cNvPr>
          <p:cNvSpPr txBox="1"/>
          <p:nvPr/>
        </p:nvSpPr>
        <p:spPr>
          <a:xfrm>
            <a:off x="776438" y="5097718"/>
            <a:ext cx="4913854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n-US" sz="800" dirty="0"/>
              <a:t>Strandberg T, Feely J, et al. Twelve-week, multicenter, randomized, open-label comparison of the effects of rosuvastatin 10 mg/d and atorvastatin 10 mg/d in high-risk adults: a DISCOVERY study Clin </a:t>
            </a:r>
            <a:r>
              <a:rPr lang="en-US" sz="800" dirty="0" err="1"/>
              <a:t>Ther</a:t>
            </a:r>
            <a:r>
              <a:rPr lang="en-US" sz="800" dirty="0"/>
              <a:t>. 2004 Nov;26(11):1821-33. </a:t>
            </a:r>
            <a:r>
              <a:rPr lang="en-US" sz="800" dirty="0" err="1"/>
              <a:t>doi</a:t>
            </a:r>
            <a:r>
              <a:rPr lang="en-US" sz="800" dirty="0"/>
              <a:t>: 10.1016/j.clinthera.2004.11.015.</a:t>
            </a:r>
            <a:endParaRPr lang="es-ES" sz="800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2B3341E-5D43-214D-6AB4-328C9DD2D052}"/>
              </a:ext>
            </a:extLst>
          </p:cNvPr>
          <p:cNvSpPr txBox="1"/>
          <p:nvPr/>
        </p:nvSpPr>
        <p:spPr>
          <a:xfrm>
            <a:off x="776438" y="5554943"/>
            <a:ext cx="5002877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n-US" sz="800" dirty="0"/>
              <a:t>Yang Y, Lee S, et al. Combination Therapy of Rosuvastatin and Ezetimibe in Patients with High Cardiovascular Risk. Clin </a:t>
            </a:r>
            <a:r>
              <a:rPr lang="en-US" sz="800" dirty="0" err="1"/>
              <a:t>Ther</a:t>
            </a:r>
            <a:r>
              <a:rPr lang="en-US" sz="800" dirty="0"/>
              <a:t>. 2017 Jan;39(1):107-117. </a:t>
            </a:r>
            <a:r>
              <a:rPr lang="en-US" sz="800" dirty="0" err="1"/>
              <a:t>doi</a:t>
            </a:r>
            <a:r>
              <a:rPr lang="en-US" sz="800" dirty="0"/>
              <a:t>: 10.1016/j.clinthera.2016.11.014. </a:t>
            </a:r>
            <a:r>
              <a:rPr lang="en-US" sz="800" dirty="0" err="1"/>
              <a:t>Epub</a:t>
            </a:r>
            <a:r>
              <a:rPr lang="en-US" sz="800" dirty="0"/>
              <a:t> 2016 Dec 19.</a:t>
            </a:r>
            <a:endParaRPr lang="es-ES" sz="800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9F57D95-D813-418C-4F20-020A375A1AE1}"/>
              </a:ext>
            </a:extLst>
          </p:cNvPr>
          <p:cNvSpPr txBox="1"/>
          <p:nvPr/>
        </p:nvSpPr>
        <p:spPr>
          <a:xfrm>
            <a:off x="776438" y="5965778"/>
            <a:ext cx="491385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1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fi-FI" sz="800" dirty="0"/>
              <a:t>Kim K, Kim S, et al.</a:t>
            </a:r>
            <a:r>
              <a:rPr lang="en-US" sz="800" dirty="0"/>
              <a:t> Effect of fixed-dose combinations of ezetimibe plus rosuvastatin in patients with primary hypercholesterolemia: MRS-ROZE (Multicenter Randomized Study of </a:t>
            </a:r>
            <a:r>
              <a:rPr lang="en-US" sz="800" dirty="0" err="1"/>
              <a:t>ROsuvastatin</a:t>
            </a:r>
            <a:r>
              <a:rPr lang="en-US" sz="800" dirty="0"/>
              <a:t> and </a:t>
            </a:r>
            <a:r>
              <a:rPr lang="en-US" sz="800" dirty="0" err="1"/>
              <a:t>eZEtimibe</a:t>
            </a:r>
            <a:r>
              <a:rPr lang="en-US" sz="800" dirty="0"/>
              <a:t>). Cardiovasc </a:t>
            </a:r>
            <a:r>
              <a:rPr lang="en-US" sz="800" dirty="0" err="1"/>
              <a:t>Ther</a:t>
            </a:r>
            <a:r>
              <a:rPr lang="en-US" sz="800" dirty="0"/>
              <a:t>. 2016 Oct;34(5):371-82. </a:t>
            </a:r>
            <a:r>
              <a:rPr lang="en-US" sz="800" dirty="0" err="1"/>
              <a:t>doi</a:t>
            </a:r>
            <a:r>
              <a:rPr lang="en-US" sz="800" dirty="0"/>
              <a:t>: 10.1111/1755-5922.12213.</a:t>
            </a:r>
            <a:endParaRPr lang="es-ES" sz="800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A3916105-ECD6-0756-CC1F-3622521EEC1E}"/>
              </a:ext>
            </a:extLst>
          </p:cNvPr>
          <p:cNvSpPr txBox="1"/>
          <p:nvPr/>
        </p:nvSpPr>
        <p:spPr>
          <a:xfrm>
            <a:off x="6017155" y="4086840"/>
            <a:ext cx="5290622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1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pt-BR" sz="800" dirty="0" err="1"/>
              <a:t>Stender</a:t>
            </a:r>
            <a:r>
              <a:rPr lang="pt-BR" sz="800" dirty="0"/>
              <a:t> S, Schuster H, et al. </a:t>
            </a:r>
            <a:r>
              <a:rPr lang="en-US" sz="800" dirty="0"/>
              <a:t>Comparison of rosuvastatin with atorvastatin, simvastatin and pravastatin in achieving cholesterol goals and improving plasma lipids in </a:t>
            </a:r>
            <a:r>
              <a:rPr lang="en-US" sz="800" dirty="0" err="1"/>
              <a:t>hypercholesterolaemic</a:t>
            </a:r>
            <a:r>
              <a:rPr lang="en-US" sz="800" dirty="0"/>
              <a:t> patients with or without the metabolic syndrome in the MERCURY I trial. </a:t>
            </a:r>
            <a:r>
              <a:rPr lang="pt-BR" sz="800" dirty="0"/>
              <a:t>Diabetes </a:t>
            </a:r>
            <a:r>
              <a:rPr lang="pt-BR" sz="800" dirty="0" err="1"/>
              <a:t>Obes</a:t>
            </a:r>
            <a:r>
              <a:rPr lang="pt-BR" sz="800" dirty="0"/>
              <a:t> </a:t>
            </a:r>
            <a:r>
              <a:rPr lang="pt-BR" sz="800" dirty="0" err="1"/>
              <a:t>Metab</a:t>
            </a:r>
            <a:r>
              <a:rPr lang="pt-BR" sz="800" dirty="0"/>
              <a:t>. 2005 Jul;7(4):430-8. </a:t>
            </a:r>
            <a:r>
              <a:rPr lang="pt-BR" sz="800" dirty="0" err="1"/>
              <a:t>doi</a:t>
            </a:r>
            <a:r>
              <a:rPr lang="pt-BR" sz="800" dirty="0"/>
              <a:t>: 10.1111/j.1463-1326.2004.00450.x.</a:t>
            </a:r>
            <a:endParaRPr lang="es-ES" sz="800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94CDAC6-87F9-A2C1-E71B-38B890E58BE8}"/>
              </a:ext>
            </a:extLst>
          </p:cNvPr>
          <p:cNvSpPr txBox="1"/>
          <p:nvPr/>
        </p:nvSpPr>
        <p:spPr>
          <a:xfrm>
            <a:off x="6017155" y="4625429"/>
            <a:ext cx="5290622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1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it-IT" sz="800" dirty="0"/>
              <a:t>Ballantyne C, </a:t>
            </a:r>
            <a:r>
              <a:rPr lang="it-IT" sz="800" dirty="0" err="1"/>
              <a:t>Bertolami</a:t>
            </a:r>
            <a:r>
              <a:rPr lang="it-IT" sz="800" dirty="0"/>
              <a:t> M, et al. </a:t>
            </a:r>
            <a:r>
              <a:rPr lang="it-IT" sz="800" dirty="0" err="1"/>
              <a:t>Achieving</a:t>
            </a:r>
            <a:r>
              <a:rPr lang="it-IT" sz="800" dirty="0"/>
              <a:t> LDL </a:t>
            </a:r>
            <a:r>
              <a:rPr lang="it-IT" sz="800" dirty="0" err="1"/>
              <a:t>cholesterol</a:t>
            </a:r>
            <a:r>
              <a:rPr lang="it-IT" sz="800" dirty="0"/>
              <a:t>, non-HDL </a:t>
            </a:r>
            <a:r>
              <a:rPr lang="it-IT" sz="800" dirty="0" err="1"/>
              <a:t>cholesterol</a:t>
            </a:r>
            <a:r>
              <a:rPr lang="it-IT" sz="800" dirty="0"/>
              <a:t>, and </a:t>
            </a:r>
            <a:r>
              <a:rPr lang="it-IT" sz="800" dirty="0" err="1"/>
              <a:t>apolipoprotein</a:t>
            </a:r>
            <a:r>
              <a:rPr lang="it-IT" sz="800" dirty="0"/>
              <a:t> B target </a:t>
            </a:r>
            <a:r>
              <a:rPr lang="it-IT" sz="800" dirty="0" err="1"/>
              <a:t>levels</a:t>
            </a:r>
            <a:r>
              <a:rPr lang="it-IT" sz="800" dirty="0"/>
              <a:t> in high-risk </a:t>
            </a:r>
            <a:r>
              <a:rPr lang="it-IT" sz="800" dirty="0" err="1"/>
              <a:t>patients</a:t>
            </a:r>
            <a:r>
              <a:rPr lang="it-IT" sz="800" dirty="0"/>
              <a:t>: </a:t>
            </a:r>
            <a:r>
              <a:rPr lang="it-IT" sz="800" dirty="0" err="1"/>
              <a:t>Measuring</a:t>
            </a:r>
            <a:r>
              <a:rPr lang="it-IT" sz="800" dirty="0"/>
              <a:t> </a:t>
            </a:r>
            <a:r>
              <a:rPr lang="it-IT" sz="800" dirty="0" err="1"/>
              <a:t>Effective</a:t>
            </a:r>
            <a:r>
              <a:rPr lang="it-IT" sz="800" dirty="0"/>
              <a:t> </a:t>
            </a:r>
            <a:r>
              <a:rPr lang="it-IT" sz="800" dirty="0" err="1"/>
              <a:t>Reductions</a:t>
            </a:r>
            <a:r>
              <a:rPr lang="it-IT" sz="800" dirty="0"/>
              <a:t> in </a:t>
            </a:r>
            <a:r>
              <a:rPr lang="it-IT" sz="800" dirty="0" err="1"/>
              <a:t>Cholesterol</a:t>
            </a:r>
            <a:r>
              <a:rPr lang="it-IT" sz="800" dirty="0"/>
              <a:t> Using </a:t>
            </a:r>
            <a:r>
              <a:rPr lang="it-IT" sz="800" dirty="0" err="1"/>
              <a:t>Rosuvastatin</a:t>
            </a:r>
            <a:r>
              <a:rPr lang="it-IT" sz="800" dirty="0"/>
              <a:t> </a:t>
            </a:r>
            <a:r>
              <a:rPr lang="it-IT" sz="800" dirty="0" err="1"/>
              <a:t>therapY</a:t>
            </a:r>
            <a:r>
              <a:rPr lang="it-IT" sz="800" dirty="0"/>
              <a:t> (MERCURY) II. </a:t>
            </a:r>
            <a:r>
              <a:rPr lang="en-US" sz="800" dirty="0"/>
              <a:t>Am Heart J. 2006 May;151(5):975.e1-9. </a:t>
            </a:r>
            <a:r>
              <a:rPr lang="en-US" sz="800" dirty="0" err="1"/>
              <a:t>doi</a:t>
            </a:r>
            <a:r>
              <a:rPr lang="en-US" sz="800" dirty="0"/>
              <a:t>: 10.1016/j.ahj.2005.12.013.</a:t>
            </a:r>
            <a:endParaRPr lang="es-ES" sz="800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384B99F-49B3-EBAE-0365-17E3C9413F9B}"/>
              </a:ext>
            </a:extLst>
          </p:cNvPr>
          <p:cNvSpPr txBox="1"/>
          <p:nvPr/>
        </p:nvSpPr>
        <p:spPr>
          <a:xfrm>
            <a:off x="6017155" y="5114732"/>
            <a:ext cx="529062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nl-NL" sz="800" dirty="0"/>
              <a:t>Zeeuw D, </a:t>
            </a:r>
            <a:r>
              <a:rPr lang="nl-NL" sz="800" dirty="0" err="1"/>
              <a:t>Anzalone</a:t>
            </a:r>
            <a:r>
              <a:rPr lang="nl-NL" sz="800" dirty="0"/>
              <a:t> D, et al. </a:t>
            </a:r>
            <a:r>
              <a:rPr lang="en-US" sz="800" dirty="0"/>
              <a:t>Renal effects of atorvastatin and rosuvastatin in patients with diabetes who have progressive renal disease (PLANET I): a </a:t>
            </a:r>
            <a:r>
              <a:rPr lang="en-US" sz="800" dirty="0" err="1"/>
              <a:t>randomised</a:t>
            </a:r>
            <a:r>
              <a:rPr lang="en-US" sz="800" dirty="0"/>
              <a:t> clinical trial. </a:t>
            </a:r>
            <a:r>
              <a:rPr lang="pt-BR" sz="800" dirty="0"/>
              <a:t>Lancet Diabetes </a:t>
            </a:r>
            <a:r>
              <a:rPr lang="pt-BR" sz="800" dirty="0" err="1"/>
              <a:t>Endocrinol</a:t>
            </a:r>
            <a:r>
              <a:rPr lang="pt-BR" sz="800" dirty="0"/>
              <a:t>. 2015 Mar;3(3):181-90. </a:t>
            </a:r>
            <a:r>
              <a:rPr lang="pt-BR" sz="800" dirty="0" err="1"/>
              <a:t>doi</a:t>
            </a:r>
            <a:r>
              <a:rPr lang="pt-BR" sz="800" dirty="0"/>
              <a:t>: 10.1016/S2213-8587(14)70246-3. </a:t>
            </a:r>
            <a:r>
              <a:rPr lang="pt-BR" sz="800" dirty="0" err="1"/>
              <a:t>Epub</a:t>
            </a:r>
            <a:r>
              <a:rPr lang="pt-BR" sz="800" dirty="0"/>
              <a:t> 2015 </a:t>
            </a:r>
            <a:r>
              <a:rPr lang="pt-BR" sz="800" dirty="0" err="1"/>
              <a:t>Feb</a:t>
            </a:r>
            <a:r>
              <a:rPr lang="pt-BR" sz="800" dirty="0"/>
              <a:t> 4.</a:t>
            </a:r>
            <a:endParaRPr lang="es-ES" sz="800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E5D7AD65-91FC-CEEB-967F-BFD6F8EAF5D0}"/>
              </a:ext>
            </a:extLst>
          </p:cNvPr>
          <p:cNvSpPr txBox="1"/>
          <p:nvPr/>
        </p:nvSpPr>
        <p:spPr>
          <a:xfrm>
            <a:off x="776438" y="6431574"/>
            <a:ext cx="5125481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s-ES" sz="800" dirty="0"/>
              <a:t>Mostaza JM, Escobar C. </a:t>
            </a:r>
            <a:r>
              <a:rPr lang="en-US" sz="800" dirty="0"/>
              <a:t>Rosuvastatin-Based Lipid-Lowering Therapy for the Control of LDL Cholesterol in Patients at High Vascular Risk. </a:t>
            </a:r>
            <a:r>
              <a:rPr lang="nl-NL" sz="800" dirty="0"/>
              <a:t>J </a:t>
            </a:r>
            <a:r>
              <a:rPr lang="nl-NL" sz="800" dirty="0" err="1"/>
              <a:t>Clin</a:t>
            </a:r>
            <a:r>
              <a:rPr lang="nl-NL" sz="800" dirty="0"/>
              <a:t> </a:t>
            </a:r>
            <a:r>
              <a:rPr lang="nl-NL" sz="800" dirty="0" err="1"/>
              <a:t>Med</a:t>
            </a:r>
            <a:r>
              <a:rPr lang="nl-NL" sz="800" dirty="0"/>
              <a:t>. 2024 Mar 25;13(7):1894. </a:t>
            </a:r>
            <a:r>
              <a:rPr lang="nl-NL" sz="800" dirty="0" err="1"/>
              <a:t>doi</a:t>
            </a:r>
            <a:r>
              <a:rPr lang="nl-NL" sz="800" dirty="0"/>
              <a:t>: 10.3390/jcm13071894.</a:t>
            </a:r>
            <a:endParaRPr lang="es-ES" sz="800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B02A8EFA-95E5-D40E-27D9-059AB6FC13C1}"/>
              </a:ext>
            </a:extLst>
          </p:cNvPr>
          <p:cNvSpPr txBox="1"/>
          <p:nvPr/>
        </p:nvSpPr>
        <p:spPr>
          <a:xfrm>
            <a:off x="6017155" y="5576466"/>
            <a:ext cx="529062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n-US" sz="800" dirty="0"/>
              <a:t>Kim W, Yoon Y, et al. Efficacy and Safety of Ezetimibe and Rosuvastatin Combination Therapy Versus Those of Rosuvastatin Monotherapy in Patients With Primary Hypercholesterolemia. Clin </a:t>
            </a:r>
            <a:r>
              <a:rPr lang="en-US" sz="800" dirty="0" err="1"/>
              <a:t>Ther</a:t>
            </a:r>
            <a:r>
              <a:rPr lang="en-US" sz="800" dirty="0"/>
              <a:t>. 2018 Jun;40(6):993-1013. </a:t>
            </a:r>
            <a:r>
              <a:rPr lang="en-US" sz="800" dirty="0" err="1"/>
              <a:t>doi</a:t>
            </a:r>
            <a:r>
              <a:rPr lang="en-US" sz="800" dirty="0"/>
              <a:t>: 10.1016/j.clinthera.2018.04.015. </a:t>
            </a:r>
            <a:r>
              <a:rPr lang="en-US" sz="800" dirty="0" err="1"/>
              <a:t>Epub</a:t>
            </a:r>
            <a:r>
              <a:rPr lang="en-US" sz="800" dirty="0"/>
              <a:t> 2018 May 30.</a:t>
            </a:r>
            <a:endParaRPr lang="es-ES" sz="800" dirty="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1CC1A78E-0836-1C37-A67D-93255DF2036B}"/>
              </a:ext>
            </a:extLst>
          </p:cNvPr>
          <p:cNvSpPr txBox="1"/>
          <p:nvPr/>
        </p:nvSpPr>
        <p:spPr>
          <a:xfrm>
            <a:off x="6017155" y="6065769"/>
            <a:ext cx="5539363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342900" indent="-34290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en-US" sz="800" dirty="0"/>
              <a:t>Hong SJ, Jeong HS , et al. A Phase III, Multicenter, Randomized, Double-blind, Active Comparator Clinical Trial to Compare the Efficacy and Safety of Combination Therapy With Ezetimibe and Rosuvastatin Versus Rosuvastatin Monotherapy in Patients With Hypercholesterolemia: I-ROSETTE (</a:t>
            </a:r>
            <a:r>
              <a:rPr lang="en-US" sz="800" dirty="0" err="1"/>
              <a:t>Ildong</a:t>
            </a:r>
            <a:r>
              <a:rPr lang="en-US" sz="800" dirty="0"/>
              <a:t> Rosuvastatin &amp; Ezetimibe for Hypercholesterolemia) Randomized Controlled Trial Clin </a:t>
            </a:r>
            <a:r>
              <a:rPr lang="en-US" sz="800" dirty="0" err="1"/>
              <a:t>Ther</a:t>
            </a:r>
            <a:r>
              <a:rPr lang="en-US" sz="800" dirty="0"/>
              <a:t>. 2018 Feb;40(2):226-241.e4. </a:t>
            </a:r>
            <a:r>
              <a:rPr lang="en-US" sz="800" dirty="0" err="1"/>
              <a:t>doi</a:t>
            </a:r>
            <a:r>
              <a:rPr lang="en-US" sz="800" dirty="0"/>
              <a:t>: 10.1016/j.clinthera.2017.12.018.</a:t>
            </a:r>
            <a:endParaRPr lang="es-ES" sz="8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C05869A-3C41-A21E-552F-F49E5C53AFE1}"/>
              </a:ext>
            </a:extLst>
          </p:cNvPr>
          <p:cNvSpPr txBox="1"/>
          <p:nvPr/>
        </p:nvSpPr>
        <p:spPr>
          <a:xfrm rot="16200000">
            <a:off x="10578743" y="5053814"/>
            <a:ext cx="24937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dirty="0"/>
              <a:t>MA-ES-NOP-2500003</a:t>
            </a:r>
          </a:p>
        </p:txBody>
      </p:sp>
    </p:spTree>
    <p:extLst>
      <p:ext uri="{BB962C8B-B14F-4D97-AF65-F5344CB8AC3E}">
        <p14:creationId xmlns:p14="http://schemas.microsoft.com/office/powerpoint/2010/main" val="27551068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9DBC97-A19A-B553-0007-1CADB5D4C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832" y="217562"/>
            <a:ext cx="10346231" cy="880781"/>
          </a:xfrm>
        </p:spPr>
        <p:txBody>
          <a:bodyPr>
            <a:normAutofit/>
          </a:bodyPr>
          <a:lstStyle/>
          <a:p>
            <a:r>
              <a:rPr lang="es-ES_tradnl" sz="3600" dirty="0"/>
              <a:t>Agenda:</a:t>
            </a:r>
            <a:endParaRPr lang="es-ES" sz="3600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3678198-E123-CEE2-BC59-B2D0C1A1E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831" y="1319930"/>
            <a:ext cx="10346231" cy="4768476"/>
          </a:xfrm>
        </p:spPr>
        <p:txBody>
          <a:bodyPr>
            <a:normAutofit/>
          </a:bodyPr>
          <a:lstStyle/>
          <a:p>
            <a:pPr marL="514350" indent="-514350">
              <a:buAutoNum type="romanUcPeriod"/>
            </a:pPr>
            <a:r>
              <a:rPr lang="es-ES_tradnl" sz="2400" dirty="0"/>
              <a:t>Importancia del control de los niveles de LDL</a:t>
            </a:r>
          </a:p>
          <a:p>
            <a:pPr marL="514350" indent="-514350">
              <a:buAutoNum type="romanUcPeriod"/>
            </a:pPr>
            <a:r>
              <a:rPr lang="es-ES_tradnl" sz="2400" dirty="0"/>
              <a:t>Consecuencias del mal control</a:t>
            </a:r>
          </a:p>
          <a:p>
            <a:pPr marL="514350" indent="-514350">
              <a:buAutoNum type="romanUcPeriod"/>
            </a:pPr>
            <a:r>
              <a:rPr lang="es-ES_tradnl" sz="2400" dirty="0"/>
              <a:t>Recomendaciones de las guías de práctica clínica y objetivos terapéuticos: Guías ESC Dislipemias</a:t>
            </a:r>
          </a:p>
          <a:p>
            <a:pPr marL="514350" indent="-514350">
              <a:buAutoNum type="romanUcPeriod"/>
            </a:pPr>
            <a:r>
              <a:rPr lang="es-ES_tradnl" sz="2400" dirty="0"/>
              <a:t>Realidad del Control del LDL en práctica clínica</a:t>
            </a:r>
          </a:p>
          <a:p>
            <a:pPr marL="514350" indent="-514350">
              <a:buAutoNum type="romanUcPeriod"/>
            </a:pPr>
            <a:r>
              <a:rPr lang="es-ES_tradnl" sz="2400" dirty="0"/>
              <a:t>Como lograr una correcta consecución de objetivos terapéuticos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79438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CuadroTexto 2">
            <a:extLst>
              <a:ext uri="{FF2B5EF4-FFF2-40B4-BE49-F238E27FC236}">
                <a16:creationId xmlns:a16="http://schemas.microsoft.com/office/drawing/2014/main" id="{19F02B4D-EAC8-F196-EC81-D49CA98441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951" y="4330700"/>
            <a:ext cx="3121026" cy="127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b="1" i="1" dirty="0">
                <a:solidFill>
                  <a:schemeClr val="accent1"/>
                </a:solidFill>
              </a:rPr>
              <a:t>1</a:t>
            </a:r>
            <a:r>
              <a:rPr lang="es-ES" altLang="es-ES" sz="700" i="1" dirty="0">
                <a:solidFill>
                  <a:schemeClr val="accent1"/>
                </a:solidFill>
              </a:rPr>
              <a:t>. Cardiovascular </a:t>
            </a:r>
            <a:r>
              <a:rPr lang="es-ES" altLang="es-ES" sz="700" i="1" dirty="0" err="1">
                <a:solidFill>
                  <a:schemeClr val="accent1"/>
                </a:solidFill>
              </a:rPr>
              <a:t>Diseases</a:t>
            </a:r>
            <a:r>
              <a:rPr lang="es-ES" altLang="es-ES" sz="700" i="1" dirty="0">
                <a:solidFill>
                  <a:schemeClr val="accent1"/>
                </a:solidFill>
              </a:rPr>
              <a:t> (</a:t>
            </a:r>
            <a:r>
              <a:rPr lang="es-ES" altLang="es-ES" sz="700" i="1" dirty="0" err="1">
                <a:solidFill>
                  <a:schemeClr val="accent1"/>
                </a:solidFill>
              </a:rPr>
              <a:t>CVDs</a:t>
            </a:r>
            <a:r>
              <a:rPr lang="es-ES" altLang="es-ES" sz="700" i="1" dirty="0">
                <a:solidFill>
                  <a:schemeClr val="accent1"/>
                </a:solidFill>
              </a:rPr>
              <a:t>)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Available</a:t>
            </a:r>
            <a:r>
              <a:rPr lang="es-ES" altLang="es-ES" sz="700" i="1" dirty="0">
                <a:solidFill>
                  <a:schemeClr val="accent1"/>
                </a:solidFill>
              </a:rPr>
              <a:t> online: (https://www.who.int/europe/news-room/fact-sheets/item/cardiovascular-diseases)  </a:t>
            </a:r>
            <a:r>
              <a:rPr lang="es-ES" altLang="es-ES" sz="700" b="1" i="1" dirty="0">
                <a:solidFill>
                  <a:schemeClr val="accent1"/>
                </a:solidFill>
              </a:rPr>
              <a:t>2</a:t>
            </a:r>
            <a:r>
              <a:rPr lang="es-ES" altLang="es-ES" sz="700" i="1" dirty="0">
                <a:solidFill>
                  <a:schemeClr val="accent1"/>
                </a:solidFill>
              </a:rPr>
              <a:t>. Cardiovascular </a:t>
            </a:r>
            <a:r>
              <a:rPr lang="es-ES" altLang="es-ES" sz="700" i="1" dirty="0" err="1">
                <a:solidFill>
                  <a:schemeClr val="accent1"/>
                </a:solidFill>
              </a:rPr>
              <a:t>Diseases</a:t>
            </a:r>
            <a:r>
              <a:rPr lang="es-ES" altLang="es-ES" sz="700" i="1" dirty="0">
                <a:solidFill>
                  <a:schemeClr val="accent1"/>
                </a:solidFill>
              </a:rPr>
              <a:t> (</a:t>
            </a:r>
            <a:r>
              <a:rPr lang="es-ES" altLang="es-ES" sz="700" i="1" dirty="0" err="1">
                <a:solidFill>
                  <a:schemeClr val="accent1"/>
                </a:solidFill>
              </a:rPr>
              <a:t>CVDs</a:t>
            </a:r>
            <a:r>
              <a:rPr lang="es-ES" altLang="es-ES" sz="700" i="1" dirty="0">
                <a:solidFill>
                  <a:schemeClr val="accent1"/>
                </a:solidFill>
              </a:rPr>
              <a:t>). </a:t>
            </a:r>
            <a:r>
              <a:rPr lang="es-ES" altLang="es-ES" sz="700" i="1" dirty="0" err="1">
                <a:solidFill>
                  <a:schemeClr val="accent1"/>
                </a:solidFill>
              </a:rPr>
              <a:t>Available</a:t>
            </a:r>
            <a:r>
              <a:rPr lang="es-ES" altLang="es-ES" sz="700" i="1" dirty="0">
                <a:solidFill>
                  <a:schemeClr val="accent1"/>
                </a:solidFill>
              </a:rPr>
              <a:t> online: </a:t>
            </a:r>
            <a:r>
              <a:rPr lang="en-US" altLang="es-ES" sz="700" i="1" dirty="0">
                <a:solidFill>
                  <a:schemeClr val="accent1"/>
                </a:solidFill>
              </a:rPr>
              <a:t>(https://www.who.int/es/news-room/fact-sheets/detail/cardiovascular-diseases-(cvds)) ; </a:t>
            </a:r>
            <a:r>
              <a:rPr lang="en-US" altLang="es-ES" sz="700" b="1" i="1" dirty="0">
                <a:solidFill>
                  <a:schemeClr val="accent1"/>
                </a:solidFill>
              </a:rPr>
              <a:t>3</a:t>
            </a:r>
            <a:r>
              <a:rPr lang="en-US" altLang="es-ES" sz="700" i="1" dirty="0">
                <a:solidFill>
                  <a:schemeClr val="accent1"/>
                </a:solidFill>
              </a:rPr>
              <a:t>. Ference BA. et al. Low-density lipoproteins cause atherosclerotic cardiovascular disease. 1. Evidence from genetic, epidemiologic, and clinical studies. A consensus statement from the European Atherosclerosis Society Consensus Panel. </a:t>
            </a:r>
            <a:r>
              <a:rPr lang="en-US" altLang="es-ES" sz="700" i="1" dirty="0" err="1">
                <a:solidFill>
                  <a:schemeClr val="accent1"/>
                </a:solidFill>
              </a:rPr>
              <a:t>Eur</a:t>
            </a:r>
            <a:r>
              <a:rPr lang="en-US" altLang="es-ES" sz="700" i="1" dirty="0">
                <a:solidFill>
                  <a:schemeClr val="accent1"/>
                </a:solidFill>
              </a:rPr>
              <a:t> Heart J. 2017;38(32):2459-72. </a:t>
            </a:r>
            <a:r>
              <a:rPr lang="en-US" altLang="es-ES" sz="700" b="1" i="1" dirty="0">
                <a:solidFill>
                  <a:schemeClr val="accent1"/>
                </a:solidFill>
              </a:rPr>
              <a:t>4</a:t>
            </a:r>
            <a:r>
              <a:rPr lang="en-US" altLang="es-ES" sz="700" i="1" dirty="0">
                <a:solidFill>
                  <a:schemeClr val="accent1"/>
                </a:solidFill>
              </a:rPr>
              <a:t>. Holme I, et al, Observed and predicted reduction of ischemic cardiovascular events in the Simvastatin and Ezetimibe in Aortic Stenosis trial. Am J </a:t>
            </a:r>
            <a:r>
              <a:rPr lang="en-US" altLang="es-ES" sz="700" i="1" dirty="0" err="1">
                <a:solidFill>
                  <a:schemeClr val="accent1"/>
                </a:solidFill>
              </a:rPr>
              <a:t>Cardiol</a:t>
            </a:r>
            <a:r>
              <a:rPr lang="en-US" altLang="es-ES" sz="700" i="1" dirty="0">
                <a:solidFill>
                  <a:schemeClr val="accent1"/>
                </a:solidFill>
              </a:rPr>
              <a:t>. 2010 Jun 15;105(12):1802-8. </a:t>
            </a:r>
            <a:r>
              <a:rPr lang="en-US" altLang="es-ES" sz="700" i="1" dirty="0" err="1">
                <a:solidFill>
                  <a:schemeClr val="accent1"/>
                </a:solidFill>
              </a:rPr>
              <a:t>doi</a:t>
            </a:r>
            <a:r>
              <a:rPr lang="en-US" altLang="es-ES" sz="700" i="1" dirty="0">
                <a:solidFill>
                  <a:schemeClr val="accent1"/>
                </a:solidFill>
              </a:rPr>
              <a:t>: 10.1016/j.amjcard.2010.01.363. </a:t>
            </a:r>
            <a:r>
              <a:rPr lang="en-US" altLang="es-ES" sz="700" i="1" dirty="0" err="1">
                <a:solidFill>
                  <a:schemeClr val="accent1"/>
                </a:solidFill>
              </a:rPr>
              <a:t>Epub</a:t>
            </a:r>
            <a:r>
              <a:rPr lang="en-US" altLang="es-ES" sz="700" i="1" dirty="0">
                <a:solidFill>
                  <a:schemeClr val="accent1"/>
                </a:solidFill>
              </a:rPr>
              <a:t> 2010 Mar 16.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9D775BE-ECB0-B4D2-505C-7452BD3DBD84}"/>
              </a:ext>
            </a:extLst>
          </p:cNvPr>
          <p:cNvSpPr/>
          <p:nvPr/>
        </p:nvSpPr>
        <p:spPr>
          <a:xfrm>
            <a:off x="449263" y="811213"/>
            <a:ext cx="11355387" cy="56991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Background: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6F0B4FD-5564-3E19-73C5-FE010CC1EA47}"/>
              </a:ext>
            </a:extLst>
          </p:cNvPr>
          <p:cNvSpPr/>
          <p:nvPr/>
        </p:nvSpPr>
        <p:spPr>
          <a:xfrm>
            <a:off x="723900" y="1728788"/>
            <a:ext cx="3121025" cy="1382712"/>
          </a:xfrm>
          <a:prstGeom prst="rect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sz="2200" b="1" dirty="0">
                <a:solidFill>
                  <a:schemeClr val="accent1">
                    <a:lumMod val="75000"/>
                  </a:schemeClr>
                </a:solidFill>
              </a:rPr>
              <a:t>La 1ª causa de muerte </a:t>
            </a:r>
            <a:r>
              <a:rPr lang="es-ES_tradnl" sz="2200" dirty="0">
                <a:solidFill>
                  <a:schemeClr val="accent1">
                    <a:lumMod val="75000"/>
                  </a:schemeClr>
                </a:solidFill>
              </a:rPr>
              <a:t>son</a:t>
            </a:r>
            <a:r>
              <a:rPr lang="es-ES_tradnl" sz="2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s-ES_tradnl" sz="2200" dirty="0">
                <a:solidFill>
                  <a:schemeClr val="accent1">
                    <a:lumMod val="75000"/>
                  </a:schemeClr>
                </a:solidFill>
              </a:rPr>
              <a:t>las enfermedades </a:t>
            </a:r>
          </a:p>
          <a:p>
            <a:pPr algn="ctr">
              <a:defRPr/>
            </a:pPr>
            <a:r>
              <a:rPr lang="es-ES_tradnl" sz="2200" dirty="0">
                <a:solidFill>
                  <a:schemeClr val="accent1">
                    <a:lumMod val="75000"/>
                  </a:schemeClr>
                </a:solidFill>
              </a:rPr>
              <a:t>cardiovasculares (ECV)</a:t>
            </a:r>
            <a:endParaRPr lang="es-ES" sz="2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B9DABBAD-377A-FCC1-ED39-032EF97ADA8B}"/>
              </a:ext>
            </a:extLst>
          </p:cNvPr>
          <p:cNvSpPr/>
          <p:nvPr/>
        </p:nvSpPr>
        <p:spPr>
          <a:xfrm>
            <a:off x="742950" y="3153982"/>
            <a:ext cx="3084513" cy="946150"/>
          </a:xfrm>
          <a:prstGeom prst="rect">
            <a:avLst/>
          </a:prstGeom>
          <a:noFill/>
          <a:ln w="38100">
            <a:solidFill>
              <a:srgbClr val="F0925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Muertes anuales:</a:t>
            </a:r>
          </a:p>
          <a:p>
            <a:pPr algn="ctr">
              <a:defRPr/>
            </a:pP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42,5% en Europa</a:t>
            </a:r>
            <a:r>
              <a:rPr lang="es-ES_tradnl" b="1" baseline="30000" dirty="0">
                <a:solidFill>
                  <a:schemeClr val="accent1">
                    <a:lumMod val="75000"/>
                  </a:schemeClr>
                </a:solidFill>
              </a:rPr>
              <a:t>1,</a:t>
            </a:r>
          </a:p>
          <a:p>
            <a:pPr algn="ctr">
              <a:defRPr/>
            </a:pP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32% a nivel mundial</a:t>
            </a:r>
            <a:r>
              <a:rPr lang="es-ES_tradnl" b="1" baseline="30000" dirty="0">
                <a:solidFill>
                  <a:schemeClr val="accent1">
                    <a:lumMod val="75000"/>
                  </a:schemeClr>
                </a:solidFill>
              </a:rPr>
              <a:t>2</a:t>
            </a:r>
            <a:endParaRPr lang="es-ES" b="1" baseline="30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202E86E0-A7EE-2C89-B810-C1BD9A6F3B08}"/>
              </a:ext>
            </a:extLst>
          </p:cNvPr>
          <p:cNvSpPr/>
          <p:nvPr/>
        </p:nvSpPr>
        <p:spPr>
          <a:xfrm>
            <a:off x="4453591" y="1610751"/>
            <a:ext cx="6896100" cy="1294373"/>
          </a:xfrm>
          <a:prstGeom prst="rect">
            <a:avLst/>
          </a:prstGeom>
          <a:noFill/>
          <a:ln w="38100">
            <a:solidFill>
              <a:srgbClr val="F0925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El LDL-c es, </a:t>
            </a:r>
            <a:r>
              <a:rPr lang="es-ES" b="1" dirty="0">
                <a:solidFill>
                  <a:schemeClr val="accent1">
                    <a:lumMod val="75000"/>
                  </a:schemeClr>
                </a:solidFill>
              </a:rPr>
              <a:t>inequívocamente,</a:t>
            </a: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 un factor etiológico común para el desarrollo de ECVs</a:t>
            </a:r>
            <a:r>
              <a:rPr lang="es-ES_tradnl" b="1" baseline="30000" dirty="0">
                <a:solidFill>
                  <a:schemeClr val="accent1">
                    <a:lumMod val="75000"/>
                  </a:schemeClr>
                </a:solidFill>
              </a:rPr>
              <a:t>3, </a:t>
            </a: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y la reducción de sus niveles disminuye la probabilidad de padecer un evento CV mayor (MACE)</a:t>
            </a:r>
            <a:r>
              <a:rPr lang="es-ES_tradnl" b="1" baseline="30000" dirty="0">
                <a:solidFill>
                  <a:schemeClr val="accent1">
                    <a:lumMod val="75000"/>
                  </a:schemeClr>
                </a:solidFill>
              </a:rPr>
              <a:t>4</a:t>
            </a:r>
            <a:r>
              <a:rPr lang="es-ES_tradnl" b="1" dirty="0">
                <a:solidFill>
                  <a:schemeClr val="accent1">
                    <a:lumMod val="75000"/>
                  </a:schemeClr>
                </a:solidFill>
              </a:rPr>
              <a:t>.  </a:t>
            </a:r>
            <a:endParaRPr lang="es-ES" b="1" baseline="30000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4103" name="Grupo 18">
            <a:extLst>
              <a:ext uri="{FF2B5EF4-FFF2-40B4-BE49-F238E27FC236}">
                <a16:creationId xmlns:a16="http://schemas.microsoft.com/office/drawing/2014/main" id="{0027081A-C72F-E01F-E5A6-41A97A4AD75B}"/>
              </a:ext>
            </a:extLst>
          </p:cNvPr>
          <p:cNvGrpSpPr>
            <a:grpSpLocks/>
          </p:cNvGrpSpPr>
          <p:nvPr/>
        </p:nvGrpSpPr>
        <p:grpSpPr bwMode="auto">
          <a:xfrm>
            <a:off x="5046663" y="3120467"/>
            <a:ext cx="5780087" cy="2960688"/>
            <a:chOff x="4418620" y="2879620"/>
            <a:chExt cx="5780087" cy="2960688"/>
          </a:xfrm>
        </p:grpSpPr>
        <p:pic>
          <p:nvPicPr>
            <p:cNvPr id="4104" name="Picture 7">
              <a:extLst>
                <a:ext uri="{FF2B5EF4-FFF2-40B4-BE49-F238E27FC236}">
                  <a16:creationId xmlns:a16="http://schemas.microsoft.com/office/drawing/2014/main" id="{CBA8E6E2-E3AD-1C77-FD91-A2C8EDF6CB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25" t="29640" r="21484" b="6357"/>
            <a:stretch>
              <a:fillRect/>
            </a:stretch>
          </p:blipFill>
          <p:spPr bwMode="auto">
            <a:xfrm>
              <a:off x="4418620" y="2879620"/>
              <a:ext cx="3687762" cy="2960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1054">
              <a:extLst>
                <a:ext uri="{FF2B5EF4-FFF2-40B4-BE49-F238E27FC236}">
                  <a16:creationId xmlns:a16="http://schemas.microsoft.com/office/drawing/2014/main" id="{557420AC-A69D-C44F-8F50-ACB92CD85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6407" y="2879620"/>
              <a:ext cx="1892300" cy="153828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endParaRPr lang="en-US" altLang="en-US" sz="20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  <a:p>
              <a:pPr algn="ctr">
                <a:defRPr/>
              </a:pPr>
              <a:r>
                <a:rPr lang="en-US" altLang="en-US" sz="2000" b="1" dirty="0">
                  <a:solidFill>
                    <a:srgbClr val="000000"/>
                  </a:solidFill>
                  <a:latin typeface="Arial"/>
                  <a:cs typeface="Arial" charset="0"/>
                </a:rPr>
                <a:t>  1mmol/L o   38 mg/dL       de LDL-c</a:t>
              </a:r>
            </a:p>
            <a:p>
              <a:pPr algn="ctr">
                <a:defRPr/>
              </a:pPr>
              <a:endParaRPr lang="en-US" altLang="en-US" sz="2000" b="1" dirty="0">
                <a:solidFill>
                  <a:srgbClr val="00B05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6" name="Rectangle 1054">
              <a:extLst>
                <a:ext uri="{FF2B5EF4-FFF2-40B4-BE49-F238E27FC236}">
                  <a16:creationId xmlns:a16="http://schemas.microsoft.com/office/drawing/2014/main" id="{9AE67CCB-C4B6-8805-4B04-0BE85D397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4820" y="4859233"/>
              <a:ext cx="1893887" cy="92392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endParaRPr lang="en-US" altLang="en-US" sz="20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  <a:p>
              <a:pPr algn="ctr">
                <a:defRPr/>
              </a:pPr>
              <a:r>
                <a:rPr lang="en-US" altLang="en-US" sz="2000" b="1" dirty="0">
                  <a:solidFill>
                    <a:srgbClr val="000000"/>
                  </a:solidFill>
                  <a:latin typeface="Arial"/>
                  <a:cs typeface="Arial" charset="0"/>
                </a:rPr>
                <a:t>  21% MACE 4</a:t>
              </a:r>
            </a:p>
            <a:p>
              <a:pPr algn="ctr">
                <a:defRPr/>
              </a:pPr>
              <a:endParaRPr lang="en-US" altLang="en-US" sz="2000" b="1" dirty="0">
                <a:solidFill>
                  <a:srgbClr val="00B050"/>
                </a:solidFill>
                <a:latin typeface="Arial"/>
                <a:cs typeface="Arial" charset="0"/>
              </a:endParaRPr>
            </a:p>
          </p:txBody>
        </p:sp>
        <p:cxnSp>
          <p:nvCxnSpPr>
            <p:cNvPr id="17" name="Conector recto de flecha 16">
              <a:extLst>
                <a:ext uri="{FF2B5EF4-FFF2-40B4-BE49-F238E27FC236}">
                  <a16:creationId xmlns:a16="http://schemas.microsoft.com/office/drawing/2014/main" id="{7B1864AE-4D6E-AC52-8816-0FC704E85AFC}"/>
                </a:ext>
              </a:extLst>
            </p:cNvPr>
            <p:cNvCxnSpPr/>
            <p:nvPr/>
          </p:nvCxnSpPr>
          <p:spPr>
            <a:xfrm>
              <a:off x="8541357" y="3420958"/>
              <a:ext cx="0" cy="401637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cto de flecha 17">
              <a:extLst>
                <a:ext uri="{FF2B5EF4-FFF2-40B4-BE49-F238E27FC236}">
                  <a16:creationId xmlns:a16="http://schemas.microsoft.com/office/drawing/2014/main" id="{809BFFDE-95BF-3E2A-6321-571ACCACD377}"/>
                </a:ext>
              </a:extLst>
            </p:cNvPr>
            <p:cNvCxnSpPr/>
            <p:nvPr/>
          </p:nvCxnSpPr>
          <p:spPr>
            <a:xfrm>
              <a:off x="8447695" y="5140220"/>
              <a:ext cx="0" cy="40005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66490891-F028-6DDB-80AD-773C67ABD1AC}"/>
              </a:ext>
            </a:extLst>
          </p:cNvPr>
          <p:cNvSpPr txBox="1"/>
          <p:nvPr/>
        </p:nvSpPr>
        <p:spPr>
          <a:xfrm>
            <a:off x="5333664" y="6162087"/>
            <a:ext cx="609750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s-E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700" b="1" i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algn="ctr"/>
            <a:r>
              <a:rPr lang="es-ES" b="0" dirty="0" err="1"/>
              <a:t>Holme</a:t>
            </a:r>
            <a:r>
              <a:rPr lang="es-ES" b="0" dirty="0"/>
              <a:t> I, et al, Am J </a:t>
            </a:r>
            <a:r>
              <a:rPr lang="es-ES" b="0" dirty="0" err="1"/>
              <a:t>Cardiol</a:t>
            </a:r>
            <a:r>
              <a:rPr lang="es-ES" b="0" dirty="0"/>
              <a:t>. 2010 Jun 15;105(12):1802-8. </a:t>
            </a:r>
            <a:r>
              <a:rPr lang="es-ES" b="0" dirty="0" err="1"/>
              <a:t>doi</a:t>
            </a:r>
            <a:r>
              <a:rPr lang="es-ES" b="0" dirty="0"/>
              <a:t>: 10.1016/j.amjcard.2010.01.363. </a:t>
            </a:r>
            <a:r>
              <a:rPr lang="es-ES" b="0" dirty="0" err="1"/>
              <a:t>Epub</a:t>
            </a:r>
            <a:r>
              <a:rPr lang="es-ES" b="0" dirty="0"/>
              <a:t> 2010 Mar 16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24ACD3E-F418-710E-9617-5F14E2929E1A}"/>
              </a:ext>
            </a:extLst>
          </p:cNvPr>
          <p:cNvSpPr/>
          <p:nvPr/>
        </p:nvSpPr>
        <p:spPr>
          <a:xfrm>
            <a:off x="101600" y="666750"/>
            <a:ext cx="11988800" cy="5683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eto Cero: State-of-the-Art par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l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manej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l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dislipemia</a:t>
            </a:r>
            <a:endParaRPr lang="en-US" sz="3200" b="1" dirty="0">
              <a:solidFill>
                <a:srgbClr val="00F0B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123" name="Imagen 3">
            <a:extLst>
              <a:ext uri="{FF2B5EF4-FFF2-40B4-BE49-F238E27FC236}">
                <a16:creationId xmlns:a16="http://schemas.microsoft.com/office/drawing/2014/main" id="{75EDC501-D26F-15F1-1312-63E0486294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" t="354" r="194" b="424"/>
          <a:stretch>
            <a:fillRect/>
          </a:stretch>
        </p:blipFill>
        <p:spPr bwMode="auto">
          <a:xfrm>
            <a:off x="1101725" y="1343025"/>
            <a:ext cx="7158038" cy="496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CuadroTexto 4">
            <a:extLst>
              <a:ext uri="{FF2B5EF4-FFF2-40B4-BE49-F238E27FC236}">
                <a16:creationId xmlns:a16="http://schemas.microsoft.com/office/drawing/2014/main" id="{2CA16259-091C-B75F-C82C-CE4D434432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0819" y="5668030"/>
            <a:ext cx="28781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s-ES" sz="700" i="1" dirty="0">
                <a:solidFill>
                  <a:schemeClr val="accent1"/>
                </a:solidFill>
              </a:rPr>
              <a:t>Banach et al. 2023: The year in cardiovascular disease - the year of new and prospective lipid lowering therapies. Can we render dyslipidemia a rare disease by 2024? Arch Med Sci 2023; 19 (6): 1602–1615 DOI: https://doi.org/10.5114/aoms/174743</a:t>
            </a:r>
            <a:endParaRPr lang="es-ES" altLang="es-ES" sz="700" i="1" dirty="0">
              <a:solidFill>
                <a:schemeClr val="accent1"/>
              </a:solidFill>
            </a:endParaRPr>
          </a:p>
        </p:txBody>
      </p:sp>
      <p:grpSp>
        <p:nvGrpSpPr>
          <p:cNvPr id="5125" name="Grupo 8">
            <a:extLst>
              <a:ext uri="{FF2B5EF4-FFF2-40B4-BE49-F238E27FC236}">
                <a16:creationId xmlns:a16="http://schemas.microsoft.com/office/drawing/2014/main" id="{DC7FB41F-034F-E014-0A44-A54AC6D056C0}"/>
              </a:ext>
            </a:extLst>
          </p:cNvPr>
          <p:cNvGrpSpPr>
            <a:grpSpLocks/>
          </p:cNvGrpSpPr>
          <p:nvPr/>
        </p:nvGrpSpPr>
        <p:grpSpPr bwMode="auto">
          <a:xfrm>
            <a:off x="8710613" y="3340100"/>
            <a:ext cx="3060700" cy="1168400"/>
            <a:chOff x="8876872" y="5024063"/>
            <a:chExt cx="3061699" cy="1167502"/>
          </a:xfrm>
        </p:grpSpPr>
        <p:sp>
          <p:nvSpPr>
            <p:cNvPr id="7" name="Rectángulo: esquinas redondeadas 6">
              <a:extLst>
                <a:ext uri="{FF2B5EF4-FFF2-40B4-BE49-F238E27FC236}">
                  <a16:creationId xmlns:a16="http://schemas.microsoft.com/office/drawing/2014/main" id="{0B0C467D-170B-BD3F-7501-1A72BFBB71AD}"/>
                </a:ext>
              </a:extLst>
            </p:cNvPr>
            <p:cNvSpPr/>
            <p:nvPr/>
          </p:nvSpPr>
          <p:spPr>
            <a:xfrm>
              <a:off x="8876872" y="5024063"/>
              <a:ext cx="3061699" cy="1167502"/>
            </a:xfrm>
            <a:prstGeom prst="round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5128" name="CuadroTexto 7">
              <a:extLst>
                <a:ext uri="{FF2B5EF4-FFF2-40B4-BE49-F238E27FC236}">
                  <a16:creationId xmlns:a16="http://schemas.microsoft.com/office/drawing/2014/main" id="{A36FD217-FEA6-4B1D-CB11-E75B8A986AB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17091" y="5155107"/>
              <a:ext cx="3021480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s-ES_tradnl" altLang="es-ES" sz="1800" dirty="0">
                  <a:solidFill>
                    <a:schemeClr val="bg1"/>
                  </a:solidFill>
                </a:rPr>
                <a:t>El LDL-c cuanto antes se baje, cuanto más bajo, y cuanto más tiempo bajo mejor</a:t>
              </a:r>
              <a:endParaRPr lang="es-ES" altLang="es-E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5126" name="CuadroTexto 11">
            <a:extLst>
              <a:ext uri="{FF2B5EF4-FFF2-40B4-BE49-F238E27FC236}">
                <a16:creationId xmlns:a16="http://schemas.microsoft.com/office/drawing/2014/main" id="{A8F347AF-459D-B507-048F-6E210D0F9E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29663" y="4740275"/>
            <a:ext cx="30622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900">
                <a:solidFill>
                  <a:srgbClr val="000000"/>
                </a:solidFill>
                <a:latin typeface="OpenSans"/>
              </a:rPr>
              <a:t>Basics of lipid-lowering treatment – method of management, impact on prognosis, safety, and biological mechanisms.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900">
                <a:solidFill>
                  <a:srgbClr val="000000"/>
                </a:solidFill>
                <a:latin typeface="OpenSans"/>
              </a:rPr>
              <a:t>CVD – cardiovascular disease, LLT – lipid-lowering treatment, CV – cardiovascular, ASCVD – atherosclerotic cardiovascular disease, SI – statin intolerance, OR – odds ratio, LDL-C – low density lipoprotein cholesterol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C377FE94-019D-56A8-7EF7-48F41907E86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016" y="2925556"/>
            <a:ext cx="3601968" cy="1408213"/>
          </a:xfrm>
          <a:prstGeom prst="rect">
            <a:avLst/>
          </a:prstGeom>
        </p:spPr>
      </p:pic>
      <p:grpSp>
        <p:nvGrpSpPr>
          <p:cNvPr id="8" name="Grupo 7">
            <a:extLst>
              <a:ext uri="{FF2B5EF4-FFF2-40B4-BE49-F238E27FC236}">
                <a16:creationId xmlns:a16="http://schemas.microsoft.com/office/drawing/2014/main" id="{41C8290E-9384-C0EE-AB57-05064DDB6232}"/>
              </a:ext>
            </a:extLst>
          </p:cNvPr>
          <p:cNvGrpSpPr/>
          <p:nvPr/>
        </p:nvGrpSpPr>
        <p:grpSpPr>
          <a:xfrm>
            <a:off x="4139584" y="1516361"/>
            <a:ext cx="3912832" cy="1439035"/>
            <a:chOff x="4798031" y="1673379"/>
            <a:chExt cx="3912832" cy="1439035"/>
          </a:xfrm>
        </p:grpSpPr>
        <p:pic>
          <p:nvPicPr>
            <p:cNvPr id="2" name="Imagen 1">
              <a:extLst>
                <a:ext uri="{FF2B5EF4-FFF2-40B4-BE49-F238E27FC236}">
                  <a16:creationId xmlns:a16="http://schemas.microsoft.com/office/drawing/2014/main" id="{A137D901-A38A-7827-C26C-71ACCBF18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39128" y="1673379"/>
              <a:ext cx="3871735" cy="1408213"/>
            </a:xfrm>
            <a:prstGeom prst="rect">
              <a:avLst/>
            </a:prstGeom>
          </p:spPr>
        </p:pic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9F11A0F5-9503-724A-5926-8C971369CED9}"/>
                </a:ext>
              </a:extLst>
            </p:cNvPr>
            <p:cNvSpPr/>
            <p:nvPr/>
          </p:nvSpPr>
          <p:spPr>
            <a:xfrm>
              <a:off x="4798031" y="2745167"/>
              <a:ext cx="174661" cy="3672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A46C6323-7066-A9D1-AD86-5129FA825C4E}"/>
              </a:ext>
            </a:extLst>
          </p:cNvPr>
          <p:cNvGrpSpPr/>
          <p:nvPr/>
        </p:nvGrpSpPr>
        <p:grpSpPr>
          <a:xfrm>
            <a:off x="4169596" y="4243170"/>
            <a:ext cx="3852809" cy="1491059"/>
            <a:chOff x="5116530" y="4674088"/>
            <a:chExt cx="3852809" cy="1491059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EBC77FD6-8751-B868-0521-6C01D46D2C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16530" y="4756935"/>
              <a:ext cx="3852809" cy="1408212"/>
            </a:xfrm>
            <a:prstGeom prst="rect">
              <a:avLst/>
            </a:prstGeom>
          </p:spPr>
        </p:pic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E8A616D-8561-8D6D-36FC-1CD31BBDFE57}"/>
                </a:ext>
              </a:extLst>
            </p:cNvPr>
            <p:cNvSpPr/>
            <p:nvPr/>
          </p:nvSpPr>
          <p:spPr>
            <a:xfrm>
              <a:off x="5116530" y="4674088"/>
              <a:ext cx="174661" cy="3672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9ACB3EA-6763-FDC2-7494-EC85AA964E65}"/>
              </a:ext>
            </a:extLst>
          </p:cNvPr>
          <p:cNvSpPr txBox="1"/>
          <p:nvPr/>
        </p:nvSpPr>
        <p:spPr>
          <a:xfrm>
            <a:off x="2110708" y="6401549"/>
            <a:ext cx="43534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700" b="0" i="1" dirty="0" err="1">
                <a:solidFill>
                  <a:schemeClr val="accent1"/>
                </a:solidFill>
                <a:effectLst/>
              </a:rPr>
              <a:t>Mazzolai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L, et al. </a:t>
            </a:r>
            <a:r>
              <a:rPr lang="en-US" sz="700" b="0" i="1" dirty="0">
                <a:solidFill>
                  <a:schemeClr val="accent1"/>
                </a:solidFill>
                <a:effectLst/>
              </a:rPr>
              <a:t>2024 ESC Guidelines for the management of peripheral arterial and aortic diseases,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European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Heart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Journal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Volume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45,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Issue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36, 21 </a:t>
            </a:r>
            <a:r>
              <a:rPr lang="es-ES" sz="700" b="0" i="1" dirty="0" err="1">
                <a:solidFill>
                  <a:schemeClr val="accent1"/>
                </a:solidFill>
                <a:effectLst/>
              </a:rPr>
              <a:t>September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 2024, Pages 3538–3700, doi.org/10.1093/eurheartj/ehae179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7FE7DDE-054E-63BB-7E0F-A48A84421396}"/>
              </a:ext>
            </a:extLst>
          </p:cNvPr>
          <p:cNvSpPr txBox="1"/>
          <p:nvPr/>
        </p:nvSpPr>
        <p:spPr>
          <a:xfrm>
            <a:off x="2110708" y="6176670"/>
            <a:ext cx="61068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>
                <a:solidFill>
                  <a:schemeClr val="accent1"/>
                </a:solidFill>
              </a:rPr>
              <a:t>Guía ESC 2024 Enfermedades arteriales periféricas y aórtica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5530D30-4A80-33EA-9A21-1C20FDA877CE}"/>
              </a:ext>
            </a:extLst>
          </p:cNvPr>
          <p:cNvSpPr txBox="1"/>
          <p:nvPr/>
        </p:nvSpPr>
        <p:spPr>
          <a:xfrm>
            <a:off x="794488" y="3202010"/>
            <a:ext cx="2595984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400">
                <a:solidFill>
                  <a:schemeClr val="accent1"/>
                </a:solidFill>
              </a:rPr>
              <a:t>La dislipemia puede tener consecuencias potencialmente graves como: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DAA9F64-898E-EFD5-DE07-E7C2B3349853}"/>
              </a:ext>
            </a:extLst>
          </p:cNvPr>
          <p:cNvSpPr txBox="1"/>
          <p:nvPr/>
        </p:nvSpPr>
        <p:spPr>
          <a:xfrm>
            <a:off x="8246724" y="3098747"/>
            <a:ext cx="3150788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 b="1">
                <a:solidFill>
                  <a:schemeClr val="accent1"/>
                </a:solidFill>
              </a:rPr>
              <a:t>Objetivos del buen control lipídico:</a:t>
            </a:r>
          </a:p>
        </p:txBody>
      </p:sp>
      <p:sp>
        <p:nvSpPr>
          <p:cNvPr id="15" name="Flecha: a la derecha 14">
            <a:extLst>
              <a:ext uri="{FF2B5EF4-FFF2-40B4-BE49-F238E27FC236}">
                <a16:creationId xmlns:a16="http://schemas.microsoft.com/office/drawing/2014/main" id="{D0186754-C2F0-3F6C-8CA2-C744FF430FEE}"/>
              </a:ext>
            </a:extLst>
          </p:cNvPr>
          <p:cNvSpPr/>
          <p:nvPr/>
        </p:nvSpPr>
        <p:spPr>
          <a:xfrm rot="5400000">
            <a:off x="8743316" y="3658578"/>
            <a:ext cx="277000" cy="160576"/>
          </a:xfrm>
          <a:prstGeom prst="rightArrow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Flecha: a la derecha 15">
            <a:extLst>
              <a:ext uri="{FF2B5EF4-FFF2-40B4-BE49-F238E27FC236}">
                <a16:creationId xmlns:a16="http://schemas.microsoft.com/office/drawing/2014/main" id="{70105A97-8D5E-2F94-3E0C-CE8EC3390C55}"/>
              </a:ext>
            </a:extLst>
          </p:cNvPr>
          <p:cNvSpPr/>
          <p:nvPr/>
        </p:nvSpPr>
        <p:spPr>
          <a:xfrm rot="5400000">
            <a:off x="8743316" y="4129892"/>
            <a:ext cx="277000" cy="160576"/>
          </a:xfrm>
          <a:prstGeom prst="rightArrow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lecha: a la derecha 16">
            <a:extLst>
              <a:ext uri="{FF2B5EF4-FFF2-40B4-BE49-F238E27FC236}">
                <a16:creationId xmlns:a16="http://schemas.microsoft.com/office/drawing/2014/main" id="{A725CC05-7B29-4AB5-C06D-9738B22A4B45}"/>
              </a:ext>
            </a:extLst>
          </p:cNvPr>
          <p:cNvSpPr/>
          <p:nvPr/>
        </p:nvSpPr>
        <p:spPr>
          <a:xfrm rot="5400000" flipV="1">
            <a:off x="8754472" y="4521066"/>
            <a:ext cx="276998" cy="160577"/>
          </a:xfrm>
          <a:prstGeom prst="rightArrow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03D8128-7BC3-7664-9B3B-1C5210B5DA9B}"/>
              </a:ext>
            </a:extLst>
          </p:cNvPr>
          <p:cNvSpPr txBox="1"/>
          <p:nvPr/>
        </p:nvSpPr>
        <p:spPr>
          <a:xfrm>
            <a:off x="9042667" y="3587112"/>
            <a:ext cx="1734918" cy="27699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>
                <a:solidFill>
                  <a:schemeClr val="accent1"/>
                </a:solidFill>
              </a:rPr>
              <a:t>Riesgo de </a:t>
            </a:r>
            <a:r>
              <a:rPr lang="es-ES" sz="1200" b="1">
                <a:solidFill>
                  <a:schemeClr val="accent1"/>
                </a:solidFill>
              </a:rPr>
              <a:t>MACE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ED98FE4-E967-3914-28D8-06FB1644EF95}"/>
              </a:ext>
            </a:extLst>
          </p:cNvPr>
          <p:cNvSpPr txBox="1"/>
          <p:nvPr/>
        </p:nvSpPr>
        <p:spPr>
          <a:xfrm>
            <a:off x="9042667" y="4045178"/>
            <a:ext cx="1734918" cy="27699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>
                <a:solidFill>
                  <a:schemeClr val="accent1"/>
                </a:solidFill>
              </a:rPr>
              <a:t>Riesgo de </a:t>
            </a:r>
            <a:r>
              <a:rPr lang="es-ES" sz="1200" b="1">
                <a:solidFill>
                  <a:schemeClr val="accent1"/>
                </a:solidFill>
              </a:rPr>
              <a:t>ictus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F70F41C5-89FF-0A05-D9D1-EEF70724437B}"/>
              </a:ext>
            </a:extLst>
          </p:cNvPr>
          <p:cNvSpPr txBox="1"/>
          <p:nvPr/>
        </p:nvSpPr>
        <p:spPr>
          <a:xfrm>
            <a:off x="9042667" y="4456431"/>
            <a:ext cx="1734918" cy="27699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>
                <a:solidFill>
                  <a:schemeClr val="accent1"/>
                </a:solidFill>
              </a:rPr>
              <a:t>Riesgo de </a:t>
            </a:r>
            <a:r>
              <a:rPr lang="es-ES" sz="1200" b="1">
                <a:solidFill>
                  <a:schemeClr val="accent1"/>
                </a:solidFill>
              </a:rPr>
              <a:t>MALE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D6BBAAC-0D62-27BE-7B68-CA18CFEF9BE6}"/>
              </a:ext>
            </a:extLst>
          </p:cNvPr>
          <p:cNvSpPr txBox="1"/>
          <p:nvPr/>
        </p:nvSpPr>
        <p:spPr>
          <a:xfrm>
            <a:off x="9042667" y="4967766"/>
            <a:ext cx="1734918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s-ES" sz="1200">
                <a:solidFill>
                  <a:schemeClr val="accent1"/>
                </a:solidFill>
              </a:rPr>
              <a:t>Mejorar la calidad de vida del paciente</a:t>
            </a:r>
            <a:endParaRPr lang="es-ES" sz="1200" b="1">
              <a:solidFill>
                <a:schemeClr val="accent1"/>
              </a:solidFill>
            </a:endParaRPr>
          </a:p>
        </p:txBody>
      </p: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B70BC87D-DB07-15EB-DD89-66CA4B15E62C}"/>
              </a:ext>
            </a:extLst>
          </p:cNvPr>
          <p:cNvCxnSpPr>
            <a:cxnSpLocks/>
          </p:cNvCxnSpPr>
          <p:nvPr/>
        </p:nvCxnSpPr>
        <p:spPr>
          <a:xfrm flipV="1">
            <a:off x="3390472" y="2425256"/>
            <a:ext cx="790209" cy="1135812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06F7AE74-2E46-6A0D-B180-B16CA08D5119}"/>
              </a:ext>
            </a:extLst>
          </p:cNvPr>
          <p:cNvCxnSpPr>
            <a:cxnSpLocks/>
          </p:cNvCxnSpPr>
          <p:nvPr/>
        </p:nvCxnSpPr>
        <p:spPr>
          <a:xfrm>
            <a:off x="3389781" y="3572927"/>
            <a:ext cx="790209" cy="1135812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de flecha 25">
            <a:extLst>
              <a:ext uri="{FF2B5EF4-FFF2-40B4-BE49-F238E27FC236}">
                <a16:creationId xmlns:a16="http://schemas.microsoft.com/office/drawing/2014/main" id="{B1834295-C347-D512-7C3F-DD99ED5D050E}"/>
              </a:ext>
            </a:extLst>
          </p:cNvPr>
          <p:cNvCxnSpPr>
            <a:cxnSpLocks/>
            <a:stCxn id="13" idx="3"/>
            <a:endCxn id="4" idx="1"/>
          </p:cNvCxnSpPr>
          <p:nvPr/>
        </p:nvCxnSpPr>
        <p:spPr>
          <a:xfrm>
            <a:off x="3390472" y="3571342"/>
            <a:ext cx="904544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904A829B-0C76-DE64-20FE-6A08E3A59902}"/>
              </a:ext>
            </a:extLst>
          </p:cNvPr>
          <p:cNvSpPr/>
          <p:nvPr/>
        </p:nvSpPr>
        <p:spPr>
          <a:xfrm>
            <a:off x="101600" y="666750"/>
            <a:ext cx="11988800" cy="5683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Consecuencia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l mal control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lípídic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4AC1612-D8EE-90DA-659D-4F0C2CA594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3260" y="778960"/>
            <a:ext cx="2744381" cy="1775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40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>
            <a:extLst>
              <a:ext uri="{FF2B5EF4-FFF2-40B4-BE49-F238E27FC236}">
                <a16:creationId xmlns:a16="http://schemas.microsoft.com/office/drawing/2014/main" id="{88E5CDA1-B756-1CF9-8ACF-2B8302113B8D}"/>
              </a:ext>
            </a:extLst>
          </p:cNvPr>
          <p:cNvGrpSpPr/>
          <p:nvPr/>
        </p:nvGrpSpPr>
        <p:grpSpPr>
          <a:xfrm>
            <a:off x="2886956" y="1148194"/>
            <a:ext cx="6449977" cy="5640585"/>
            <a:chOff x="2886956" y="1222625"/>
            <a:chExt cx="6449977" cy="5640585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85500637-BE23-C154-EBBA-FE32B0330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b="1550"/>
            <a:stretch/>
          </p:blipFill>
          <p:spPr>
            <a:xfrm>
              <a:off x="2892933" y="1222625"/>
              <a:ext cx="6444000" cy="5571903"/>
            </a:xfrm>
            <a:prstGeom prst="rect">
              <a:avLst/>
            </a:prstGeom>
          </p:spPr>
        </p:pic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E4EE7BC2-D917-E2D4-3100-F6BAF5B1E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86956" y="6742459"/>
              <a:ext cx="6310800" cy="120751"/>
            </a:xfrm>
            <a:prstGeom prst="rect">
              <a:avLst/>
            </a:prstGeom>
          </p:spPr>
        </p:pic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31E5506E-2CA0-6DD4-3C65-93AC3456D183}"/>
              </a:ext>
            </a:extLst>
          </p:cNvPr>
          <p:cNvSpPr txBox="1"/>
          <p:nvPr/>
        </p:nvSpPr>
        <p:spPr>
          <a:xfrm>
            <a:off x="9504637" y="4888842"/>
            <a:ext cx="252556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>
                <a:solidFill>
                  <a:schemeClr val="accent1"/>
                </a:solidFill>
              </a:rPr>
              <a:t>Guía ESC/EAS 2019 sobre el tratamiento de las dislipemia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B0945D4-0250-6746-DBAA-17CC72D9576E}"/>
              </a:ext>
            </a:extLst>
          </p:cNvPr>
          <p:cNvSpPr txBox="1"/>
          <p:nvPr/>
        </p:nvSpPr>
        <p:spPr>
          <a:xfrm>
            <a:off x="9504637" y="5350507"/>
            <a:ext cx="215478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b="0" i="1" dirty="0">
                <a:solidFill>
                  <a:schemeClr val="accent1"/>
                </a:solidFill>
                <a:effectLst/>
              </a:rPr>
              <a:t>Mach F. et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at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, </a:t>
            </a:r>
            <a:r>
              <a:rPr lang="es-ES" sz="700" b="0" i="1" dirty="0">
                <a:solidFill>
                  <a:schemeClr val="accent1"/>
                </a:solidFill>
                <a:effectLst/>
              </a:rPr>
              <a:t>Guía ESC/EAS 2019 sobre el tratamiento de las dislipemias: modificación de los lípidos para reducir el riesgo cardiovascular.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Rev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Esp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 </a:t>
            </a:r>
            <a:r>
              <a:rPr lang="pt-BR" sz="700" b="0" i="1" dirty="0" err="1">
                <a:solidFill>
                  <a:schemeClr val="accent1"/>
                </a:solidFill>
                <a:effectLst/>
              </a:rPr>
              <a:t>Cardiol</a:t>
            </a:r>
            <a:r>
              <a:rPr lang="pt-BR" sz="700" b="0" i="1" dirty="0">
                <a:solidFill>
                  <a:schemeClr val="accent1"/>
                </a:solidFill>
                <a:effectLst/>
              </a:rPr>
              <a:t>. 2020;73(5):403.e1–403.e70, doi.org/10.1016/j.recesp.2019.11.009 </a:t>
            </a:r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0FC5D8E2-79DE-52CA-806A-85076BA3651C}"/>
              </a:ext>
            </a:extLst>
          </p:cNvPr>
          <p:cNvSpPr/>
          <p:nvPr/>
        </p:nvSpPr>
        <p:spPr>
          <a:xfrm>
            <a:off x="703188" y="2315543"/>
            <a:ext cx="1765005" cy="644236"/>
          </a:xfrm>
          <a:prstGeom prst="round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n>
                <a:solidFill>
                  <a:srgbClr val="00B050"/>
                </a:solidFill>
              </a:ln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ED5FE1A6-F4DA-47D9-370E-F9ECC3A2FD94}"/>
              </a:ext>
            </a:extLst>
          </p:cNvPr>
          <p:cNvSpPr/>
          <p:nvPr/>
        </p:nvSpPr>
        <p:spPr>
          <a:xfrm>
            <a:off x="525783" y="3190725"/>
            <a:ext cx="2154780" cy="848100"/>
          </a:xfrm>
          <a:prstGeom prst="round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n>
                <a:solidFill>
                  <a:srgbClr val="00B050"/>
                </a:solidFill>
              </a:ln>
              <a:solidFill>
                <a:schemeClr val="accent3"/>
              </a:solidFill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ABF07E6F-FD3A-0397-8177-3868031476D6}"/>
              </a:ext>
            </a:extLst>
          </p:cNvPr>
          <p:cNvSpPr txBox="1"/>
          <p:nvPr/>
        </p:nvSpPr>
        <p:spPr>
          <a:xfrm>
            <a:off x="813169" y="2385562"/>
            <a:ext cx="15679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1º línea de </a:t>
            </a:r>
            <a:r>
              <a:rPr lang="es-ES" sz="1400" b="1" dirty="0" err="1">
                <a:solidFill>
                  <a:schemeClr val="accent5">
                    <a:lumMod val="75000"/>
                  </a:schemeClr>
                </a:solidFill>
              </a:rPr>
              <a:t>tto</a:t>
            </a:r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: </a:t>
            </a:r>
          </a:p>
          <a:p>
            <a:pPr algn="ctr"/>
            <a:r>
              <a:rPr lang="es-ES" sz="1400" b="1" dirty="0">
                <a:solidFill>
                  <a:schemeClr val="accent5">
                    <a:lumMod val="75000"/>
                  </a:schemeClr>
                </a:solidFill>
              </a:rPr>
              <a:t>estatinas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AFF051B-7E9B-0E2B-F41F-7F83C04A36D1}"/>
              </a:ext>
            </a:extLst>
          </p:cNvPr>
          <p:cNvSpPr txBox="1"/>
          <p:nvPr/>
        </p:nvSpPr>
        <p:spPr>
          <a:xfrm>
            <a:off x="547049" y="3239942"/>
            <a:ext cx="2103700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350" b="1" dirty="0">
                <a:solidFill>
                  <a:schemeClr val="accent5">
                    <a:lumMod val="75000"/>
                  </a:schemeClr>
                </a:solidFill>
              </a:rPr>
              <a:t>2º línea de </a:t>
            </a:r>
            <a:r>
              <a:rPr lang="es-ES" sz="1350" b="1" dirty="0" err="1">
                <a:solidFill>
                  <a:schemeClr val="accent5">
                    <a:lumMod val="75000"/>
                  </a:schemeClr>
                </a:solidFill>
              </a:rPr>
              <a:t>tto</a:t>
            </a:r>
            <a:r>
              <a:rPr lang="es-ES" sz="1350" b="1" dirty="0">
                <a:solidFill>
                  <a:schemeClr val="accent5">
                    <a:lumMod val="75000"/>
                  </a:schemeClr>
                </a:solidFill>
              </a:rPr>
              <a:t>: </a:t>
            </a:r>
          </a:p>
          <a:p>
            <a:pPr algn="ctr"/>
            <a:r>
              <a:rPr lang="es-ES" sz="1350" b="1" dirty="0">
                <a:solidFill>
                  <a:schemeClr val="accent5">
                    <a:lumMod val="75000"/>
                  </a:schemeClr>
                </a:solidFill>
              </a:rPr>
              <a:t>Estatina + </a:t>
            </a:r>
            <a:r>
              <a:rPr lang="es-ES" sz="1350" b="1" dirty="0" err="1">
                <a:solidFill>
                  <a:schemeClr val="accent5">
                    <a:lumMod val="75000"/>
                  </a:schemeClr>
                </a:solidFill>
              </a:rPr>
              <a:t>Ezetemibe</a:t>
            </a:r>
            <a:r>
              <a:rPr lang="es-ES" sz="1350" b="1" dirty="0">
                <a:solidFill>
                  <a:schemeClr val="accent5">
                    <a:lumMod val="75000"/>
                  </a:schemeClr>
                </a:solidFill>
              </a:rPr>
              <a:t> y/o Ácido </a:t>
            </a:r>
            <a:r>
              <a:rPr lang="es-ES" sz="1350" b="1" dirty="0" err="1">
                <a:solidFill>
                  <a:schemeClr val="accent5">
                    <a:lumMod val="75000"/>
                  </a:schemeClr>
                </a:solidFill>
              </a:rPr>
              <a:t>Bempedoico</a:t>
            </a:r>
            <a:endParaRPr lang="es-ES" sz="13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125EFD8F-BE62-2DAE-818B-F8DE3E28422D}"/>
              </a:ext>
            </a:extLst>
          </p:cNvPr>
          <p:cNvSpPr/>
          <p:nvPr/>
        </p:nvSpPr>
        <p:spPr>
          <a:xfrm>
            <a:off x="533367" y="4269771"/>
            <a:ext cx="2154780" cy="1014615"/>
          </a:xfrm>
          <a:prstGeom prst="round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n>
                <a:solidFill>
                  <a:srgbClr val="00B050"/>
                </a:solidFill>
              </a:ln>
              <a:solidFill>
                <a:schemeClr val="accent3"/>
              </a:solidFill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0138E549-43DD-FDFD-2436-602F2CE0AB82}"/>
              </a:ext>
            </a:extLst>
          </p:cNvPr>
          <p:cNvSpPr txBox="1"/>
          <p:nvPr/>
        </p:nvSpPr>
        <p:spPr>
          <a:xfrm>
            <a:off x="458935" y="4330280"/>
            <a:ext cx="23278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35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3º línea de </a:t>
            </a:r>
            <a:r>
              <a:rPr lang="es-ES" dirty="0" err="1"/>
              <a:t>tto</a:t>
            </a:r>
            <a:r>
              <a:rPr lang="es-ES" dirty="0"/>
              <a:t>: </a:t>
            </a:r>
          </a:p>
          <a:p>
            <a:r>
              <a:rPr lang="es-ES" dirty="0"/>
              <a:t>Estatina + </a:t>
            </a:r>
            <a:r>
              <a:rPr lang="es-ES" dirty="0" err="1"/>
              <a:t>Ezetemibe</a:t>
            </a:r>
            <a:r>
              <a:rPr lang="es-ES" dirty="0"/>
              <a:t> y/o Ácido </a:t>
            </a:r>
            <a:r>
              <a:rPr lang="es-ES" dirty="0" err="1"/>
              <a:t>Bempedoico</a:t>
            </a:r>
            <a:r>
              <a:rPr lang="es-ES" dirty="0"/>
              <a:t> + iPCSK9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CF916E4-760D-0BF0-14F6-68ABB3F472FB}"/>
              </a:ext>
            </a:extLst>
          </p:cNvPr>
          <p:cNvSpPr/>
          <p:nvPr/>
        </p:nvSpPr>
        <p:spPr>
          <a:xfrm>
            <a:off x="101600" y="529445"/>
            <a:ext cx="11988800" cy="5683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Algoritm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tratamient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l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dislipemia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0524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A7F38CB-41E4-4088-1C57-E1BA6755E341}"/>
              </a:ext>
            </a:extLst>
          </p:cNvPr>
          <p:cNvSpPr/>
          <p:nvPr/>
        </p:nvSpPr>
        <p:spPr>
          <a:xfrm>
            <a:off x="101600" y="811213"/>
            <a:ext cx="11988800" cy="66833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85000" lnSpcReduction="10000"/>
          </a:bodyPr>
          <a:lstStyle/>
          <a:p>
            <a:pPr defTabSz="914377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Recomendaciones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ESC/SEA 2019 par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el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manejo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 de la </a:t>
            </a:r>
            <a:r>
              <a:rPr lang="en-US" sz="3200" b="1" dirty="0" err="1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dislipemia</a:t>
            </a:r>
            <a:r>
              <a:rPr lang="en-US" sz="3200" b="1" dirty="0">
                <a:solidFill>
                  <a:srgbClr val="00F0BE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pic>
        <p:nvPicPr>
          <p:cNvPr id="6147" name="Picture 2">
            <a:extLst>
              <a:ext uri="{FF2B5EF4-FFF2-40B4-BE49-F238E27FC236}">
                <a16:creationId xmlns:a16="http://schemas.microsoft.com/office/drawing/2014/main" id="{E43974B6-4500-E2E1-8854-0FBAC2E2B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47" t="5196" r="13161" b="19737"/>
          <a:stretch>
            <a:fillRect/>
          </a:stretch>
        </p:blipFill>
        <p:spPr bwMode="auto">
          <a:xfrm>
            <a:off x="4906963" y="2455863"/>
            <a:ext cx="6845300" cy="378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92F6E17E-DE9C-73A3-21F6-0FB74676AB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1603375"/>
            <a:ext cx="4092575" cy="463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CuadroTexto 7">
            <a:extLst>
              <a:ext uri="{FF2B5EF4-FFF2-40B4-BE49-F238E27FC236}">
                <a16:creationId xmlns:a16="http://schemas.microsoft.com/office/drawing/2014/main" id="{8603BFDC-993B-06B8-7FF9-AC28344B16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1275" y="6357938"/>
            <a:ext cx="56594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ES" sz="700" b="1" i="1" dirty="0">
                <a:solidFill>
                  <a:schemeClr val="accent1"/>
                </a:solidFill>
              </a:rPr>
              <a:t>Mach F. et at, Guía ESC/EAS 2019 sobre el tratamiento de las dislipemias: modificación de los lípidos para reducir el riesgo cardiovascular.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Rev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Esp</a:t>
            </a:r>
            <a:r>
              <a:rPr lang="es-ES" altLang="es-ES" sz="700" b="1" i="1" dirty="0">
                <a:solidFill>
                  <a:schemeClr val="accent1"/>
                </a:solidFill>
              </a:rPr>
              <a:t> </a:t>
            </a:r>
            <a:r>
              <a:rPr lang="es-ES" altLang="es-ES" sz="700" b="1" i="1" dirty="0" err="1">
                <a:solidFill>
                  <a:schemeClr val="accent1"/>
                </a:solidFill>
              </a:rPr>
              <a:t>Cardiol</a:t>
            </a:r>
            <a:r>
              <a:rPr lang="es-ES" altLang="es-ES" sz="700" b="1" i="1" dirty="0">
                <a:solidFill>
                  <a:schemeClr val="accent1"/>
                </a:solidFill>
              </a:rPr>
              <a:t>. 2020;73(5):403.e1–403.e70, doi.org/10.1016/j.recesp.2019.11.009 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AFACE502-1C8F-0349-6A9B-551AFD652A54}"/>
              </a:ext>
            </a:extLst>
          </p:cNvPr>
          <p:cNvSpPr/>
          <p:nvPr/>
        </p:nvSpPr>
        <p:spPr>
          <a:xfrm>
            <a:off x="5710518" y="1644834"/>
            <a:ext cx="6075082" cy="638175"/>
          </a:xfrm>
          <a:prstGeom prst="rect">
            <a:avLst/>
          </a:prstGeom>
          <a:noFill/>
          <a:ln w="38100">
            <a:solidFill>
              <a:srgbClr val="F0925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b="1" dirty="0">
                <a:solidFill>
                  <a:schemeClr val="accent1">
                    <a:lumMod val="75000"/>
                  </a:schemeClr>
                </a:solidFill>
              </a:rPr>
              <a:t>Cuando más alto es el RCV, más estricto es el objetivo terapéutico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4F152F5A6A4643A2C50B67B6208B3F" ma:contentTypeVersion="14" ma:contentTypeDescription="Create a new document." ma:contentTypeScope="" ma:versionID="30b5b51b675b46d31af26972d8c2c11d">
  <xsd:schema xmlns:xsd="http://www.w3.org/2001/XMLSchema" xmlns:xs="http://www.w3.org/2001/XMLSchema" xmlns:p="http://schemas.microsoft.com/office/2006/metadata/properties" xmlns:ns3="63416f03-a8ab-4d83-bbbb-acc100651cfc" xmlns:ns4="ae3fc097-e688-43a5-8c01-fb02bef85f7f" targetNamespace="http://schemas.microsoft.com/office/2006/metadata/properties" ma:root="true" ma:fieldsID="6b0a9e43805fcea6319ab684e5b68189" ns3:_="" ns4:_="">
    <xsd:import namespace="63416f03-a8ab-4d83-bbbb-acc100651cfc"/>
    <xsd:import namespace="ae3fc097-e688-43a5-8c01-fb02bef85f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416f03-a8ab-4d83-bbbb-acc100651c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3fc097-e688-43a5-8c01-fb02bef85f7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3416f03-a8ab-4d83-bbbb-acc100651cfc" xsi:nil="true"/>
  </documentManagement>
</p:properties>
</file>

<file path=customXml/itemProps1.xml><?xml version="1.0" encoding="utf-8"?>
<ds:datastoreItem xmlns:ds="http://schemas.openxmlformats.org/officeDocument/2006/customXml" ds:itemID="{381BF075-79DB-4200-A66C-D502CC49F33E}">
  <ds:schemaRefs>
    <ds:schemaRef ds:uri="63416f03-a8ab-4d83-bbbb-acc100651cfc"/>
    <ds:schemaRef ds:uri="ae3fc097-e688-43a5-8c01-fb02bef85f7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BACCFE0-E6F6-467D-834C-72C5F8E499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72C4C3-6DCD-45AE-AEB4-3F49EA0A2E81}">
  <ds:schemaRefs>
    <ds:schemaRef ds:uri="http://www.w3.org/XML/1998/namespace"/>
    <ds:schemaRef ds:uri="ae3fc097-e688-43a5-8c01-fb02bef85f7f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63416f03-a8ab-4d83-bbbb-acc100651cfc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33</Words>
  <Application>Microsoft Office PowerPoint</Application>
  <PresentationFormat>Panorámica</PresentationFormat>
  <Paragraphs>345</Paragraphs>
  <Slides>3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34</vt:i4>
      </vt:variant>
    </vt:vector>
  </HeadingPairs>
  <TitlesOfParts>
    <vt:vector size="48" baseType="lpstr">
      <vt:lpstr>Aptos</vt:lpstr>
      <vt:lpstr>Arial</vt:lpstr>
      <vt:lpstr>Arial Black</vt:lpstr>
      <vt:lpstr>Calibri</vt:lpstr>
      <vt:lpstr>Gadugi</vt:lpstr>
      <vt:lpstr>Graphik-Semibold</vt:lpstr>
      <vt:lpstr>Montserrat</vt:lpstr>
      <vt:lpstr>Montserrat Light</vt:lpstr>
      <vt:lpstr>Montserrat Medium</vt:lpstr>
      <vt:lpstr>OpenSans</vt:lpstr>
      <vt:lpstr>Tema1</vt:lpstr>
      <vt:lpstr>1_Office Theme</vt:lpstr>
      <vt:lpstr>think-cell Slide</vt:lpstr>
      <vt:lpstr>Diapositiva de think-cell</vt:lpstr>
      <vt:lpstr>Presentación de PowerPoint</vt:lpstr>
      <vt:lpstr>Declaración de intereses:</vt:lpstr>
      <vt:lpstr>Presentación de PowerPoint</vt:lpstr>
      <vt:lpstr>Agenda: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aciente joven “sin patologías” previas conocidas: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87</cp:revision>
  <dcterms:created xsi:type="dcterms:W3CDTF">2024-11-05T13:29:37Z</dcterms:created>
  <dcterms:modified xsi:type="dcterms:W3CDTF">2026-01-08T10:5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4F152F5A6A4643A2C50B67B6208B3F</vt:lpwstr>
  </property>
  <property fmtid="{D5CDD505-2E9C-101B-9397-08002B2CF9AE}" pid="3" name="MSIP_Label_6b6e20c6-cf94-42a2-9862-6e25337ae690_Enabled">
    <vt:lpwstr>true</vt:lpwstr>
  </property>
  <property fmtid="{D5CDD505-2E9C-101B-9397-08002B2CF9AE}" pid="4" name="MSIP_Label_6b6e20c6-cf94-42a2-9862-6e25337ae690_SetDate">
    <vt:lpwstr>2025-02-07T09:28:45Z</vt:lpwstr>
  </property>
  <property fmtid="{D5CDD505-2E9C-101B-9397-08002B2CF9AE}" pid="5" name="MSIP_Label_6b6e20c6-cf94-42a2-9862-6e25337ae690_Method">
    <vt:lpwstr>Privileged</vt:lpwstr>
  </property>
  <property fmtid="{D5CDD505-2E9C-101B-9397-08002B2CF9AE}" pid="6" name="MSIP_Label_6b6e20c6-cf94-42a2-9862-6e25337ae690_Name">
    <vt:lpwstr>Public</vt:lpwstr>
  </property>
  <property fmtid="{D5CDD505-2E9C-101B-9397-08002B2CF9AE}" pid="7" name="MSIP_Label_6b6e20c6-cf94-42a2-9862-6e25337ae690_SiteId">
    <vt:lpwstr>342ace0e-1054-45ce-9b30-900fc0440b9d</vt:lpwstr>
  </property>
  <property fmtid="{D5CDD505-2E9C-101B-9397-08002B2CF9AE}" pid="8" name="MSIP_Label_6b6e20c6-cf94-42a2-9862-6e25337ae690_ActionId">
    <vt:lpwstr>ca8c756a-9061-4aca-a161-31bbdc27f7e1</vt:lpwstr>
  </property>
  <property fmtid="{D5CDD505-2E9C-101B-9397-08002B2CF9AE}" pid="9" name="MSIP_Label_6b6e20c6-cf94-42a2-9862-6e25337ae690_ContentBits">
    <vt:lpwstr>0</vt:lpwstr>
  </property>
</Properties>
</file>